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heme/themeOverride1.xml" ContentType="application/vnd.openxmlformats-officedocument.themeOverrid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heme/themeOverride4.xml" ContentType="application/vnd.openxmlformats-officedocument.themeOverrid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theme/themeOverride5.xml" ContentType="application/vnd.openxmlformats-officedocument.themeOverride+xml"/>
  <Override PartName="/ppt/tags/tag19.xml" ContentType="application/vnd.openxmlformats-officedocument.presentationml.tags+xml"/>
  <Override PartName="/ppt/theme/themeOverride6.xml" ContentType="application/vnd.openxmlformats-officedocument.themeOverride+xml"/>
  <Override PartName="/ppt/tags/tag20.xml" ContentType="application/vnd.openxmlformats-officedocument.presentationml.tags+xml"/>
  <Override PartName="/ppt/theme/themeOverride7.xml" ContentType="application/vnd.openxmlformats-officedocument.themeOverride+xml"/>
  <Override PartName="/ppt/tags/tag21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6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7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8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9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10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11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12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13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14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2.xml" ContentType="application/vnd.openxmlformats-officedocument.presentationml.notesSlide+xml"/>
  <Override PartName="/ppt/tags/tag83.xml" ContentType="application/vnd.openxmlformats-officedocument.presentationml.tags+xml"/>
  <Override PartName="/ppt/notesSlides/notesSlide3.xml" ContentType="application/vnd.openxmlformats-officedocument.presentationml.notesSlide+xml"/>
  <Override PartName="/ppt/tags/tag84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5.xml" ContentType="application/vnd.openxmlformats-officedocument.presentationml.tags+xml"/>
  <Override PartName="/ppt/notesSlides/notesSlide5.xml" ContentType="application/vnd.openxmlformats-officedocument.presentationml.notesSlide+xml"/>
  <Override PartName="/ppt/tags/tag86.xml" ContentType="application/vnd.openxmlformats-officedocument.presentationml.tags+xml"/>
  <Override PartName="/ppt/notesSlides/notesSlide6.xml" ContentType="application/vnd.openxmlformats-officedocument.presentationml.notesSlide+xml"/>
  <Override PartName="/ppt/tags/tag87.xml" ContentType="application/vnd.openxmlformats-officedocument.presentationml.tags+xml"/>
  <Override PartName="/ppt/notesSlides/notesSlide7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8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9.xml" ContentType="application/vnd.openxmlformats-officedocument.presentationml.notesSlide+xml"/>
  <Override PartName="/ppt/tags/tag92.xml" ContentType="application/vnd.openxmlformats-officedocument.presentationml.tags+xml"/>
  <Override PartName="/ppt/notesSlides/notesSlide10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2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6" r:id="rId4"/>
    <p:sldMasterId id="2147484522" r:id="rId5"/>
    <p:sldMasterId id="2147484528" r:id="rId6"/>
    <p:sldMasterId id="2147484563" r:id="rId7"/>
    <p:sldMasterId id="2147484579" r:id="rId8"/>
    <p:sldMasterId id="2147484588" r:id="rId9"/>
    <p:sldMasterId id="2147484822" r:id="rId10"/>
    <p:sldMasterId id="2147485029" r:id="rId11"/>
    <p:sldMasterId id="2147485201" r:id="rId12"/>
    <p:sldMasterId id="2147485267" r:id="rId13"/>
    <p:sldMasterId id="2147485477" r:id="rId14"/>
    <p:sldMasterId id="2147485623" r:id="rId15"/>
    <p:sldMasterId id="2147485990" r:id="rId16"/>
    <p:sldMasterId id="2147486065" r:id="rId17"/>
  </p:sldMasterIdLst>
  <p:notesMasterIdLst>
    <p:notesMasterId r:id="rId36"/>
  </p:notesMasterIdLst>
  <p:handoutMasterIdLst>
    <p:handoutMasterId r:id="rId37"/>
  </p:handoutMasterIdLst>
  <p:sldIdLst>
    <p:sldId id="278" r:id="rId18"/>
    <p:sldId id="280" r:id="rId19"/>
    <p:sldId id="2147472697" r:id="rId20"/>
    <p:sldId id="2147483632" r:id="rId21"/>
    <p:sldId id="283" r:id="rId22"/>
    <p:sldId id="261" r:id="rId23"/>
    <p:sldId id="266" r:id="rId24"/>
    <p:sldId id="274" r:id="rId25"/>
    <p:sldId id="2147377109" r:id="rId26"/>
    <p:sldId id="277" r:id="rId27"/>
    <p:sldId id="262" r:id="rId28"/>
    <p:sldId id="336" r:id="rId29"/>
    <p:sldId id="2147481577" r:id="rId30"/>
    <p:sldId id="2147481578" r:id="rId31"/>
    <p:sldId id="302" r:id="rId32"/>
    <p:sldId id="291" r:id="rId33"/>
    <p:sldId id="292" r:id="rId34"/>
    <p:sldId id="2147472408" r:id="rId35"/>
  </p:sldIdLst>
  <p:sldSz cx="12190413" cy="6858000"/>
  <p:notesSz cx="9601200" cy="7315200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304" userDrawn="1">
          <p15:clr>
            <a:srgbClr val="A4A3A4"/>
          </p15:clr>
        </p15:guide>
        <p15:guide id="2" pos="30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AC1E"/>
    <a:srgbClr val="F8F8F8"/>
    <a:srgbClr val="01793A"/>
    <a:srgbClr val="E5F1DB"/>
    <a:srgbClr val="D3E3CC"/>
    <a:srgbClr val="EAF1E7"/>
    <a:srgbClr val="3D6712"/>
    <a:srgbClr val="01793B"/>
    <a:srgbClr val="F0F0F0"/>
    <a:srgbClr val="0079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Stile chiaro 3 - Color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Stile chiaro 3 - Color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ile medio 1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Stile medio 1 - Color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7B26C5-4107-4FEC-AEDC-1716B250A1EF}" styleName="Stile chi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269D01E-BC32-4049-B463-5C60D7B0CCD2}" styleName="Stile con tema 2 - Colore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Stile chiaro 1 - Color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0346" autoAdjust="0"/>
  </p:normalViewPr>
  <p:slideViewPr>
    <p:cSldViewPr snapToGrid="0" showGuides="1">
      <p:cViewPr varScale="1">
        <p:scale>
          <a:sx n="63" d="100"/>
          <a:sy n="63" d="100"/>
        </p:scale>
        <p:origin x="912" y="272"/>
      </p:cViewPr>
      <p:guideLst/>
    </p:cSldViewPr>
  </p:slideViewPr>
  <p:outlineViewPr>
    <p:cViewPr>
      <p:scale>
        <a:sx n="33" d="100"/>
        <a:sy n="33" d="100"/>
      </p:scale>
      <p:origin x="0" y="-2419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2356" y="32"/>
      </p:cViewPr>
      <p:guideLst>
        <p:guide orient="horz" pos="2304"/>
        <p:guide pos="302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presProps" Target="presProps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Rilievo del 25 Settembre | &gt; 70 </a:t>
            </a:r>
            <a:r>
              <a:rPr lang="en-US" sz="1800" b="1" i="0" u="none" strike="noStrike" kern="1200" spc="0" baseline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giorni</a:t>
            </a:r>
            <a:r>
              <a:rPr lang="en-US" sz="1800" b="1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dopo </a:t>
            </a:r>
            <a:r>
              <a:rPr lang="en-US" sz="1800" b="1" i="0" u="none" strike="noStrike" kern="1200" spc="0" baseline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applicazione</a:t>
            </a:r>
            <a:r>
              <a:rPr lang="en-US" sz="1800" b="1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A</a:t>
            </a:r>
          </a:p>
          <a:p>
            <a:pPr>
              <a:defRPr sz="1800" b="1"/>
            </a:pPr>
            <a:r>
              <a:rPr lang="en-US" sz="1800" b="1" baseline="0" dirty="0"/>
              <a:t>Classi </a:t>
            </a:r>
            <a:r>
              <a:rPr lang="en-US" sz="1800" b="1" baseline="0" dirty="0" err="1"/>
              <a:t>severità</a:t>
            </a:r>
            <a:r>
              <a:rPr lang="en-US" sz="1800" b="1" baseline="0" dirty="0"/>
              <a:t> e </a:t>
            </a:r>
            <a:r>
              <a:rPr lang="en-US" sz="1800" b="1" baseline="0" dirty="0" err="1"/>
              <a:t>incidenza</a:t>
            </a:r>
            <a:r>
              <a:rPr lang="en-US" sz="1800" b="1" baseline="0" dirty="0"/>
              <a:t> </a:t>
            </a:r>
            <a:r>
              <a:rPr lang="en-US" sz="1800" b="1" baseline="0" dirty="0" err="1"/>
              <a:t>totale</a:t>
            </a:r>
            <a:r>
              <a:rPr lang="en-US" sz="1800" b="1" baseline="0" dirty="0"/>
              <a:t> </a:t>
            </a:r>
            <a:r>
              <a:rPr lang="en-US" sz="1800" b="1" baseline="0" dirty="0" err="1"/>
              <a:t>su</a:t>
            </a:r>
            <a:r>
              <a:rPr lang="en-US" sz="1800" b="1" baseline="0" dirty="0"/>
              <a:t> </a:t>
            </a:r>
            <a:r>
              <a:rPr lang="en-US" sz="1800" b="1" baseline="0" dirty="0" err="1"/>
              <a:t>frutti</a:t>
            </a:r>
            <a:r>
              <a:rPr lang="en-US" sz="1800" b="1" baseline="0" dirty="0"/>
              <a:t> (%)</a:t>
            </a:r>
          </a:p>
        </c:rich>
      </c:tx>
      <c:layout>
        <c:manualLayout>
          <c:xMode val="edge"/>
          <c:yMode val="edge"/>
          <c:x val="0.19835014873453286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7.456911737506107E-2"/>
          <c:y val="0.13572221618430838"/>
          <c:w val="0.90653504806043761"/>
          <c:h val="0.6271079370640485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lass 2 (1-3 scudetti)</c:v>
                </c:pt>
              </c:strCache>
            </c:strRef>
          </c:tx>
          <c:spPr>
            <a:solidFill>
              <a:srgbClr val="F7B64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7B64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FC-4C9A-8081-8B69C4177775}"/>
              </c:ext>
            </c:extLst>
          </c:dPt>
          <c:dPt>
            <c:idx val="1"/>
            <c:invertIfNegative val="0"/>
            <c:bubble3D val="0"/>
            <c:spPr>
              <a:solidFill>
                <a:srgbClr val="F7B64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FC-4C9A-8081-8B69C4177775}"/>
              </c:ext>
            </c:extLst>
          </c:dPt>
          <c:dPt>
            <c:idx val="4"/>
            <c:invertIfNegative val="0"/>
            <c:bubble3D val="0"/>
            <c:spPr>
              <a:solidFill>
                <a:srgbClr val="F7B64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1FC-4C9A-8081-8B69C4177775}"/>
              </c:ext>
            </c:extLst>
          </c:dPt>
          <c:cat>
            <c:strRef>
              <c:f>Foglio1!$A$2:$A$6</c:f>
              <c:strCache>
                <c:ptCount val="5"/>
                <c:pt idx="0">
                  <c:v>1
Untreated</c:v>
                </c:pt>
                <c:pt idx="1">
                  <c:v>2
EFFICON</c:v>
                </c:pt>
                <c:pt idx="2">
                  <c:v>3
EFFICON 
+ ESSEN'CIEL</c:v>
                </c:pt>
                <c:pt idx="3">
                  <c:v>4
EFFICON 
+ MINERAL OIL</c:v>
                </c:pt>
                <c:pt idx="4">
                  <c:v>5
Standard</c:v>
                </c:pt>
              </c:strCache>
              <c:extLst/>
            </c:strRef>
          </c:cat>
          <c:val>
            <c:numRef>
              <c:f>Foglio1!$B$2:$B$6</c:f>
              <c:numCache>
                <c:formatCode>General</c:formatCode>
                <c:ptCount val="5"/>
                <c:pt idx="0">
                  <c:v>29.3</c:v>
                </c:pt>
                <c:pt idx="1">
                  <c:v>9.5</c:v>
                </c:pt>
                <c:pt idx="2">
                  <c:v>9.5</c:v>
                </c:pt>
                <c:pt idx="3">
                  <c:v>6</c:v>
                </c:pt>
                <c:pt idx="4">
                  <c:v>9.300000000000000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8-C1FC-4C9A-8081-8B69C4177775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Class 3 (4-10 scudetti)</c:v>
                </c:pt>
              </c:strCache>
            </c:strRef>
          </c:tx>
          <c:spPr>
            <a:solidFill>
              <a:srgbClr val="F39500"/>
            </a:solidFill>
            <a:ln>
              <a:noFill/>
            </a:ln>
            <a:effectLst/>
          </c:spPr>
          <c:invertIfNegative val="0"/>
          <c:cat>
            <c:strRef>
              <c:f>Foglio1!$A$2:$A$6</c:f>
              <c:strCache>
                <c:ptCount val="5"/>
                <c:pt idx="0">
                  <c:v>1
Untreated</c:v>
                </c:pt>
                <c:pt idx="1">
                  <c:v>2
EFFICON</c:v>
                </c:pt>
                <c:pt idx="2">
                  <c:v>3
EFFICON 
+ ESSEN'CIEL</c:v>
                </c:pt>
                <c:pt idx="3">
                  <c:v>4
EFFICON 
+ MINERAL OIL</c:v>
                </c:pt>
                <c:pt idx="4">
                  <c:v>5
Standard</c:v>
                </c:pt>
              </c:strCache>
              <c:extLst/>
            </c:strRef>
          </c:cat>
          <c:val>
            <c:numRef>
              <c:f>Foglio1!$C$2:$C$6</c:f>
              <c:numCache>
                <c:formatCode>General</c:formatCode>
                <c:ptCount val="5"/>
                <c:pt idx="0">
                  <c:v>14.3</c:v>
                </c:pt>
                <c:pt idx="1">
                  <c:v>12</c:v>
                </c:pt>
                <c:pt idx="2">
                  <c:v>7.5</c:v>
                </c:pt>
                <c:pt idx="3">
                  <c:v>5.3</c:v>
                </c:pt>
                <c:pt idx="4">
                  <c:v>5.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6-6DB2-4792-BA3B-C485D1E0C8F8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Class 4 (11-25 scudetti)</c:v>
                </c:pt>
              </c:strCache>
            </c:strRef>
          </c:tx>
          <c:spPr>
            <a:solidFill>
              <a:srgbClr val="FF3300"/>
            </a:solidFill>
            <a:ln>
              <a:noFill/>
            </a:ln>
            <a:effectLst/>
          </c:spPr>
          <c:invertIfNegative val="0"/>
          <c:cat>
            <c:strRef>
              <c:f>Foglio1!$A$2:$A$6</c:f>
              <c:strCache>
                <c:ptCount val="5"/>
                <c:pt idx="0">
                  <c:v>1
Untreated</c:v>
                </c:pt>
                <c:pt idx="1">
                  <c:v>2
EFFICON</c:v>
                </c:pt>
                <c:pt idx="2">
                  <c:v>3
EFFICON 
+ ESSEN'CIEL</c:v>
                </c:pt>
                <c:pt idx="3">
                  <c:v>4
EFFICON 
+ MINERAL OIL</c:v>
                </c:pt>
                <c:pt idx="4">
                  <c:v>5
Standard</c:v>
                </c:pt>
              </c:strCache>
              <c:extLst/>
            </c:strRef>
          </c:cat>
          <c:val>
            <c:numRef>
              <c:f>Foglio1!$D$2:$D$6</c:f>
              <c:numCache>
                <c:formatCode>General</c:formatCode>
                <c:ptCount val="5"/>
                <c:pt idx="0">
                  <c:v>10.5</c:v>
                </c:pt>
                <c:pt idx="1">
                  <c:v>5.3</c:v>
                </c:pt>
                <c:pt idx="2">
                  <c:v>5.3</c:v>
                </c:pt>
                <c:pt idx="3">
                  <c:v>4.8</c:v>
                </c:pt>
                <c:pt idx="4">
                  <c:v>4.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7-6DB2-4792-BA3B-C485D1E0C8F8}"/>
            </c:ext>
          </c:extLst>
        </c:ser>
        <c:ser>
          <c:idx val="3"/>
          <c:order val="3"/>
          <c:tx>
            <c:strRef>
              <c:f>Foglio1!$E$1</c:f>
              <c:strCache>
                <c:ptCount val="1"/>
                <c:pt idx="0">
                  <c:v>Class 5 (&gt;26 scudetti)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8.4163944375083219E-2"/>
                </c:manualLayout>
              </c:layout>
              <c:tx>
                <c:rich>
                  <a:bodyPr/>
                  <a:lstStyle/>
                  <a:p>
                    <a:fld id="{78512B70-6632-45C9-843F-4C0D6AC8FE8E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6DB2-4792-BA3B-C485D1E0C8F8}"/>
                </c:ext>
              </c:extLst>
            </c:dLbl>
            <c:dLbl>
              <c:idx val="1"/>
              <c:layout>
                <c:manualLayout>
                  <c:x val="0"/>
                  <c:y val="-3.825633835231055E-2"/>
                </c:manualLayout>
              </c:layout>
              <c:tx>
                <c:rich>
                  <a:bodyPr/>
                  <a:lstStyle/>
                  <a:p>
                    <a:fld id="{05EFEE6D-3907-48C9-818F-3E4431C27436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6DB2-4792-BA3B-C485D1E0C8F8}"/>
                </c:ext>
              </c:extLst>
            </c:dLbl>
            <c:dLbl>
              <c:idx val="2"/>
              <c:layout>
                <c:manualLayout>
                  <c:x val="-7.8588351368539848E-17"/>
                  <c:y val="-4.5907606022772662E-2"/>
                </c:manualLayout>
              </c:layout>
              <c:tx>
                <c:rich>
                  <a:bodyPr/>
                  <a:lstStyle/>
                  <a:p>
                    <a:fld id="{824C96A5-7595-497F-82F5-91E46254E49E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6DB2-4792-BA3B-C485D1E0C8F8}"/>
                </c:ext>
              </c:extLst>
            </c:dLbl>
            <c:dLbl>
              <c:idx val="3"/>
              <c:layout>
                <c:manualLayout>
                  <c:x val="1.0716717167438326E-3"/>
                  <c:y val="-4.0806760909131254E-2"/>
                </c:manualLayout>
              </c:layout>
              <c:tx>
                <c:rich>
                  <a:bodyPr/>
                  <a:lstStyle/>
                  <a:p>
                    <a:fld id="{DF387D97-B1C4-4091-8018-DF2045858D09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6DB2-4792-BA3B-C485D1E0C8F8}"/>
                </c:ext>
              </c:extLst>
            </c:dLbl>
            <c:dLbl>
              <c:idx val="4"/>
              <c:layout>
                <c:manualLayout>
                  <c:x val="0"/>
                  <c:y val="-5.154477619848933E-2"/>
                </c:manualLayout>
              </c:layout>
              <c:tx>
                <c:rich>
                  <a:bodyPr/>
                  <a:lstStyle/>
                  <a:p>
                    <a:fld id="{C51C9CCA-3C4F-43B4-A044-DA3789FA7E58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6DB2-4792-BA3B-C485D1E0C8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Foglio1!$A$2:$A$6</c:f>
              <c:strCache>
                <c:ptCount val="5"/>
                <c:pt idx="0">
                  <c:v>1
Untreated</c:v>
                </c:pt>
                <c:pt idx="1">
                  <c:v>2
EFFICON</c:v>
                </c:pt>
                <c:pt idx="2">
                  <c:v>3
EFFICON 
+ ESSEN'CIEL</c:v>
                </c:pt>
                <c:pt idx="3">
                  <c:v>4
EFFICON 
+ MINERAL OIL</c:v>
                </c:pt>
                <c:pt idx="4">
                  <c:v>5
Standard</c:v>
                </c:pt>
              </c:strCache>
              <c:extLst/>
            </c:strRef>
          </c:cat>
          <c:val>
            <c:numRef>
              <c:f>Foglio1!$E$2:$E$6</c:f>
              <c:numCache>
                <c:formatCode>General</c:formatCode>
                <c:ptCount val="5"/>
                <c:pt idx="0">
                  <c:v>14.8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  <c:extLst/>
            </c:numRef>
          </c:val>
          <c:extLst>
            <c:ext xmlns:c15="http://schemas.microsoft.com/office/drawing/2012/chart" uri="{02D57815-91ED-43cb-92C2-25804820EDAC}">
              <c15:datalabelsRange>
                <c15:f>Foglio1!$F$2:$F$6</c15:f>
                <c15:dlblRangeCache>
                  <c:ptCount val="5"/>
                  <c:pt idx="0">
                    <c:v>68,8</c:v>
                  </c:pt>
                  <c:pt idx="1">
                    <c:v>26,8</c:v>
                  </c:pt>
                  <c:pt idx="2">
                    <c:v>22,3</c:v>
                  </c:pt>
                  <c:pt idx="3">
                    <c:v>16</c:v>
                  </c:pt>
                  <c:pt idx="4">
                    <c:v>1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8-6DB2-4792-BA3B-C485D1E0C8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021500991"/>
        <c:axId val="761893392"/>
      </c:barChart>
      <c:catAx>
        <c:axId val="20215009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61893392"/>
        <c:crosses val="autoZero"/>
        <c:auto val="1"/>
        <c:lblAlgn val="ctr"/>
        <c:lblOffset val="100"/>
        <c:noMultiLvlLbl val="0"/>
      </c:catAx>
      <c:valAx>
        <c:axId val="761893392"/>
        <c:scaling>
          <c:orientation val="minMax"/>
          <c:max val="8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021500991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410604858267613"/>
          <c:y val="0.13734909079444055"/>
          <c:w val="0.25338884536570333"/>
          <c:h val="0.241741500817239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/>
      </a:solidFill>
    </a:ln>
    <a:effectLst/>
  </c:spPr>
  <c:txPr>
    <a:bodyPr/>
    <a:lstStyle/>
    <a:p>
      <a:pPr>
        <a:defRPr sz="1600"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AB421B-1E97-4886-983A-6BC8CF1C6176}" type="doc">
      <dgm:prSet loTypeId="urn:microsoft.com/office/officeart/2005/8/layout/vList2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9A74D04C-7260-41D4-A31F-C1636BEE4910}">
      <dgm:prSet phldrT="[Testo]" custT="1"/>
      <dgm:spPr>
        <a:solidFill>
          <a:schemeClr val="bg1"/>
        </a:solidFill>
      </dgm:spPr>
      <dgm:t>
        <a:bodyPr/>
        <a:lstStyle/>
        <a:p>
          <a:r>
            <a:rPr lang="it-IT" sz="1400" dirty="0"/>
            <a:t>Nome commerciale*</a:t>
          </a:r>
        </a:p>
      </dgm:t>
    </dgm:pt>
    <dgm:pt modelId="{79A50709-6621-4F7C-8A79-8F057B312619}" type="parTrans" cxnId="{5D7A3601-8638-46A0-BB04-879E46051CFD}">
      <dgm:prSet/>
      <dgm:spPr/>
      <dgm:t>
        <a:bodyPr/>
        <a:lstStyle/>
        <a:p>
          <a:endParaRPr lang="it-IT" sz="1600"/>
        </a:p>
      </dgm:t>
    </dgm:pt>
    <dgm:pt modelId="{8BEAB75F-40ED-4922-85D0-33472CEB1CA7}" type="sibTrans" cxnId="{5D7A3601-8638-46A0-BB04-879E46051CFD}">
      <dgm:prSet/>
      <dgm:spPr/>
      <dgm:t>
        <a:bodyPr/>
        <a:lstStyle/>
        <a:p>
          <a:endParaRPr lang="it-IT" sz="1600"/>
        </a:p>
      </dgm:t>
    </dgm:pt>
    <dgm:pt modelId="{8D1A37E9-FD3A-4663-A3B1-D18CD85DDEEA}">
      <dgm:prSet phldrT="[Testo]" custT="1"/>
      <dgm:spPr/>
      <dgm:t>
        <a:bodyPr/>
        <a:lstStyle/>
        <a:p>
          <a:pPr>
            <a:spcAft>
              <a:spcPts val="1800"/>
            </a:spcAft>
          </a:pPr>
          <a:r>
            <a:rPr lang="it-IT" sz="1800" b="1" dirty="0"/>
            <a:t>Efficon</a:t>
          </a:r>
          <a:r>
            <a:rPr lang="it-IT" sz="1800" b="1" baseline="30000" dirty="0"/>
            <a:t>®</a:t>
          </a:r>
          <a:br>
            <a:rPr lang="it-IT" sz="1800" b="1" baseline="30000" dirty="0"/>
          </a:br>
          <a:endParaRPr lang="it-IT" sz="1800" b="1" baseline="30000" dirty="0"/>
        </a:p>
      </dgm:t>
    </dgm:pt>
    <dgm:pt modelId="{CD238EAD-89B8-422D-89C7-D62295512CE8}" type="parTrans" cxnId="{35CAD4EA-C286-4106-AC20-CE7631882F58}">
      <dgm:prSet/>
      <dgm:spPr/>
      <dgm:t>
        <a:bodyPr/>
        <a:lstStyle/>
        <a:p>
          <a:endParaRPr lang="it-IT" sz="1600"/>
        </a:p>
      </dgm:t>
    </dgm:pt>
    <dgm:pt modelId="{5D27D9B7-18A2-4599-AFD9-834E11596B52}" type="sibTrans" cxnId="{35CAD4EA-C286-4106-AC20-CE7631882F58}">
      <dgm:prSet/>
      <dgm:spPr/>
      <dgm:t>
        <a:bodyPr/>
        <a:lstStyle/>
        <a:p>
          <a:endParaRPr lang="it-IT" sz="1600"/>
        </a:p>
      </dgm:t>
    </dgm:pt>
    <dgm:pt modelId="{291FB53D-0974-413C-BB7B-FA697AD92825}">
      <dgm:prSet phldrT="[Testo]" custT="1"/>
      <dgm:spPr>
        <a:solidFill>
          <a:schemeClr val="bg1"/>
        </a:solidFill>
      </dgm:spPr>
      <dgm:t>
        <a:bodyPr/>
        <a:lstStyle/>
        <a:p>
          <a:r>
            <a:rPr lang="it-IT" sz="1400" dirty="0"/>
            <a:t>Principio attivo</a:t>
          </a:r>
        </a:p>
      </dgm:t>
    </dgm:pt>
    <dgm:pt modelId="{1EBA09AF-EABE-43B5-AF20-9D6B13136927}" type="parTrans" cxnId="{E38D078D-8A33-4942-BF74-B46985CBE544}">
      <dgm:prSet/>
      <dgm:spPr/>
      <dgm:t>
        <a:bodyPr/>
        <a:lstStyle/>
        <a:p>
          <a:endParaRPr lang="it-IT" sz="1600"/>
        </a:p>
      </dgm:t>
    </dgm:pt>
    <dgm:pt modelId="{FF68A85C-4D8C-4971-BF15-46078A07F73A}" type="sibTrans" cxnId="{E38D078D-8A33-4942-BF74-B46985CBE544}">
      <dgm:prSet/>
      <dgm:spPr/>
      <dgm:t>
        <a:bodyPr/>
        <a:lstStyle/>
        <a:p>
          <a:endParaRPr lang="it-IT" sz="1600"/>
        </a:p>
      </dgm:t>
    </dgm:pt>
    <dgm:pt modelId="{3319F3A2-EDBC-4648-8B52-B279DBBEBBCE}">
      <dgm:prSet phldrT="[Testo]" custT="1"/>
      <dgm:spPr/>
      <dgm:t>
        <a:bodyPr/>
        <a:lstStyle/>
        <a:p>
          <a:pPr>
            <a:spcAft>
              <a:spcPts val="1800"/>
            </a:spcAft>
          </a:pPr>
          <a:r>
            <a:rPr lang="it-IT" sz="1800" b="1" dirty="0"/>
            <a:t>Axalion</a:t>
          </a:r>
          <a:r>
            <a:rPr lang="it-IT" sz="1800" b="1" baseline="30000" dirty="0"/>
            <a:t>®</a:t>
          </a:r>
          <a:r>
            <a:rPr lang="it-IT" sz="1800" b="1" dirty="0"/>
            <a:t> | Dimpropyridaz</a:t>
          </a:r>
          <a:br>
            <a:rPr lang="it-IT" sz="1800" b="1" dirty="0"/>
          </a:br>
          <a:endParaRPr lang="it-IT" sz="1800" b="1" dirty="0"/>
        </a:p>
      </dgm:t>
    </dgm:pt>
    <dgm:pt modelId="{2FE37D4C-2474-4C60-AF78-BC4301B247C0}" type="parTrans" cxnId="{A108E5AB-BA6D-480E-A1E8-BA18C03B4AA1}">
      <dgm:prSet/>
      <dgm:spPr/>
      <dgm:t>
        <a:bodyPr/>
        <a:lstStyle/>
        <a:p>
          <a:endParaRPr lang="it-IT" sz="1600"/>
        </a:p>
      </dgm:t>
    </dgm:pt>
    <dgm:pt modelId="{1405C5FA-0208-4EEB-BECC-483B4FF0FF17}" type="sibTrans" cxnId="{A108E5AB-BA6D-480E-A1E8-BA18C03B4AA1}">
      <dgm:prSet/>
      <dgm:spPr/>
      <dgm:t>
        <a:bodyPr/>
        <a:lstStyle/>
        <a:p>
          <a:endParaRPr lang="it-IT" sz="1600"/>
        </a:p>
      </dgm:t>
    </dgm:pt>
    <dgm:pt modelId="{390FD0DF-C9A3-4C02-AD15-E5B5702991E1}">
      <dgm:prSet phldrT="[Testo]" custT="1"/>
      <dgm:spPr>
        <a:solidFill>
          <a:schemeClr val="bg1"/>
        </a:solidFill>
      </dgm:spPr>
      <dgm:t>
        <a:bodyPr/>
        <a:lstStyle/>
        <a:p>
          <a:r>
            <a:rPr lang="it-IT" sz="1400" dirty="0"/>
            <a:t>Formulato</a:t>
          </a:r>
        </a:p>
      </dgm:t>
    </dgm:pt>
    <dgm:pt modelId="{690985DF-FD3D-4AF4-957C-B00DAA205D23}" type="parTrans" cxnId="{1444BEBE-FCE8-4523-8D66-007B5DA6C07B}">
      <dgm:prSet/>
      <dgm:spPr/>
      <dgm:t>
        <a:bodyPr/>
        <a:lstStyle/>
        <a:p>
          <a:endParaRPr lang="it-IT" sz="1600"/>
        </a:p>
      </dgm:t>
    </dgm:pt>
    <dgm:pt modelId="{2B82765C-7E84-47A3-9F9B-AD41E13B0DA9}" type="sibTrans" cxnId="{1444BEBE-FCE8-4523-8D66-007B5DA6C07B}">
      <dgm:prSet/>
      <dgm:spPr/>
      <dgm:t>
        <a:bodyPr/>
        <a:lstStyle/>
        <a:p>
          <a:endParaRPr lang="it-IT" sz="1600"/>
        </a:p>
      </dgm:t>
    </dgm:pt>
    <dgm:pt modelId="{EA0B83DD-3BCB-4422-93AC-35DEC730B4A6}">
      <dgm:prSet phldrT="[Testo]" custT="1"/>
      <dgm:spPr/>
      <dgm:t>
        <a:bodyPr/>
        <a:lstStyle/>
        <a:p>
          <a:pPr>
            <a:spcAft>
              <a:spcPts val="1800"/>
            </a:spcAft>
          </a:pPr>
          <a:r>
            <a:rPr lang="it-IT" sz="1800" b="1" dirty="0"/>
            <a:t>SL (liquido solubile)</a:t>
          </a:r>
          <a:br>
            <a:rPr lang="it-IT" sz="1800" b="1" dirty="0"/>
          </a:br>
          <a:endParaRPr lang="it-IT" sz="1800" b="1" dirty="0"/>
        </a:p>
      </dgm:t>
    </dgm:pt>
    <dgm:pt modelId="{1833352A-EDB8-41A3-BE49-EC759EE27FE8}" type="parTrans" cxnId="{527212F3-C44B-4709-9D06-72CD69B2AC59}">
      <dgm:prSet/>
      <dgm:spPr/>
      <dgm:t>
        <a:bodyPr/>
        <a:lstStyle/>
        <a:p>
          <a:endParaRPr lang="it-IT" sz="1600"/>
        </a:p>
      </dgm:t>
    </dgm:pt>
    <dgm:pt modelId="{991D41F0-2CDB-4D76-8085-BA3EC3F20EC7}" type="sibTrans" cxnId="{527212F3-C44B-4709-9D06-72CD69B2AC59}">
      <dgm:prSet/>
      <dgm:spPr/>
      <dgm:t>
        <a:bodyPr/>
        <a:lstStyle/>
        <a:p>
          <a:endParaRPr lang="it-IT" sz="1600"/>
        </a:p>
      </dgm:t>
    </dgm:pt>
    <dgm:pt modelId="{742CD24B-D0F1-427B-9F5D-16D1288C76E4}">
      <dgm:prSet phldrT="[Testo]" custT="1"/>
      <dgm:spPr>
        <a:solidFill>
          <a:schemeClr val="bg1"/>
        </a:solidFill>
      </dgm:spPr>
      <dgm:t>
        <a:bodyPr/>
        <a:lstStyle/>
        <a:p>
          <a:r>
            <a:rPr lang="it-IT" sz="1400" dirty="0"/>
            <a:t>Concentrazione</a:t>
          </a:r>
        </a:p>
      </dgm:t>
    </dgm:pt>
    <dgm:pt modelId="{3C99B819-0CAB-491D-992F-C35A0CDECCCD}" type="parTrans" cxnId="{C3C1A67C-C39A-47EF-8415-F964C7E744DE}">
      <dgm:prSet/>
      <dgm:spPr/>
      <dgm:t>
        <a:bodyPr/>
        <a:lstStyle/>
        <a:p>
          <a:endParaRPr lang="it-IT" sz="1600"/>
        </a:p>
      </dgm:t>
    </dgm:pt>
    <dgm:pt modelId="{67A002D0-C260-4995-9F07-3FB018EE894D}" type="sibTrans" cxnId="{C3C1A67C-C39A-47EF-8415-F964C7E744DE}">
      <dgm:prSet/>
      <dgm:spPr/>
      <dgm:t>
        <a:bodyPr/>
        <a:lstStyle/>
        <a:p>
          <a:endParaRPr lang="it-IT" sz="1600"/>
        </a:p>
      </dgm:t>
    </dgm:pt>
    <dgm:pt modelId="{CA49F724-C8F4-4212-918A-E1C97EFD6102}">
      <dgm:prSet phldrT="[Testo]" custT="1"/>
      <dgm:spPr/>
      <dgm:t>
        <a:bodyPr/>
        <a:lstStyle/>
        <a:p>
          <a:pPr>
            <a:spcAft>
              <a:spcPts val="1800"/>
            </a:spcAft>
          </a:pPr>
          <a:r>
            <a:rPr lang="it-IT" sz="1800" b="1" dirty="0"/>
            <a:t>120 g/l</a:t>
          </a:r>
        </a:p>
      </dgm:t>
    </dgm:pt>
    <dgm:pt modelId="{75CCF15E-DBC3-4C70-A58A-5587E184EBC3}" type="parTrans" cxnId="{7500BD05-CADC-4CA9-AE79-C91A82E3D6E7}">
      <dgm:prSet/>
      <dgm:spPr/>
      <dgm:t>
        <a:bodyPr/>
        <a:lstStyle/>
        <a:p>
          <a:endParaRPr lang="it-IT" sz="1600"/>
        </a:p>
      </dgm:t>
    </dgm:pt>
    <dgm:pt modelId="{AAB01AA8-5407-45D8-B2D5-368B9AE8271B}" type="sibTrans" cxnId="{7500BD05-CADC-4CA9-AE79-C91A82E3D6E7}">
      <dgm:prSet/>
      <dgm:spPr/>
      <dgm:t>
        <a:bodyPr/>
        <a:lstStyle/>
        <a:p>
          <a:endParaRPr lang="it-IT" sz="1600"/>
        </a:p>
      </dgm:t>
    </dgm:pt>
    <dgm:pt modelId="{B06914A2-6C35-49F5-A0EA-7B12766BF928}" type="pres">
      <dgm:prSet presAssocID="{DCAB421B-1E97-4886-983A-6BC8CF1C6176}" presName="linear" presStyleCnt="0">
        <dgm:presLayoutVars>
          <dgm:animLvl val="lvl"/>
          <dgm:resizeHandles val="exact"/>
        </dgm:presLayoutVars>
      </dgm:prSet>
      <dgm:spPr/>
    </dgm:pt>
    <dgm:pt modelId="{5842C95B-EFDE-4543-9BC8-06FFE372A1C1}" type="pres">
      <dgm:prSet presAssocID="{9A74D04C-7260-41D4-A31F-C1636BEE4910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0426CC22-5150-4625-824F-0FB2AEE2FBD0}" type="pres">
      <dgm:prSet presAssocID="{9A74D04C-7260-41D4-A31F-C1636BEE4910}" presName="childText" presStyleLbl="revTx" presStyleIdx="0" presStyleCnt="4">
        <dgm:presLayoutVars>
          <dgm:bulletEnabled val="1"/>
        </dgm:presLayoutVars>
      </dgm:prSet>
      <dgm:spPr/>
    </dgm:pt>
    <dgm:pt modelId="{2B8056AB-5C31-4E72-A1C7-9698FD245DF9}" type="pres">
      <dgm:prSet presAssocID="{291FB53D-0974-413C-BB7B-FA697AD92825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25799B0B-CE38-4276-8BC2-0D13A24FE1A9}" type="pres">
      <dgm:prSet presAssocID="{291FB53D-0974-413C-BB7B-FA697AD92825}" presName="childText" presStyleLbl="revTx" presStyleIdx="1" presStyleCnt="4">
        <dgm:presLayoutVars>
          <dgm:bulletEnabled val="1"/>
        </dgm:presLayoutVars>
      </dgm:prSet>
      <dgm:spPr/>
    </dgm:pt>
    <dgm:pt modelId="{599A2F38-5AED-4DA5-8CBE-ABA88024A93D}" type="pres">
      <dgm:prSet presAssocID="{390FD0DF-C9A3-4C02-AD15-E5B5702991E1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41BCAAA1-8F39-43DB-8CB4-780A12030358}" type="pres">
      <dgm:prSet presAssocID="{390FD0DF-C9A3-4C02-AD15-E5B5702991E1}" presName="childText" presStyleLbl="revTx" presStyleIdx="2" presStyleCnt="4">
        <dgm:presLayoutVars>
          <dgm:bulletEnabled val="1"/>
        </dgm:presLayoutVars>
      </dgm:prSet>
      <dgm:spPr/>
    </dgm:pt>
    <dgm:pt modelId="{D4CEB88F-4EEF-41E9-B64B-5B7544C7AA7C}" type="pres">
      <dgm:prSet presAssocID="{742CD24B-D0F1-427B-9F5D-16D1288C76E4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9E7391D6-27C8-4E12-ACE9-AF444E7EF2EE}" type="pres">
      <dgm:prSet presAssocID="{742CD24B-D0F1-427B-9F5D-16D1288C76E4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5D7A3601-8638-46A0-BB04-879E46051CFD}" srcId="{DCAB421B-1E97-4886-983A-6BC8CF1C6176}" destId="{9A74D04C-7260-41D4-A31F-C1636BEE4910}" srcOrd="0" destOrd="0" parTransId="{79A50709-6621-4F7C-8A79-8F057B312619}" sibTransId="{8BEAB75F-40ED-4922-85D0-33472CEB1CA7}"/>
    <dgm:cxn modelId="{81945B03-97CC-4E36-95A0-088A9729DB24}" type="presOf" srcId="{8D1A37E9-FD3A-4663-A3B1-D18CD85DDEEA}" destId="{0426CC22-5150-4625-824F-0FB2AEE2FBD0}" srcOrd="0" destOrd="0" presId="urn:microsoft.com/office/officeart/2005/8/layout/vList2"/>
    <dgm:cxn modelId="{7500BD05-CADC-4CA9-AE79-C91A82E3D6E7}" srcId="{742CD24B-D0F1-427B-9F5D-16D1288C76E4}" destId="{CA49F724-C8F4-4212-918A-E1C97EFD6102}" srcOrd="0" destOrd="0" parTransId="{75CCF15E-DBC3-4C70-A58A-5587E184EBC3}" sibTransId="{AAB01AA8-5407-45D8-B2D5-368B9AE8271B}"/>
    <dgm:cxn modelId="{19864B0C-09C3-46BB-BA00-544DD013586C}" type="presOf" srcId="{DCAB421B-1E97-4886-983A-6BC8CF1C6176}" destId="{B06914A2-6C35-49F5-A0EA-7B12766BF928}" srcOrd="0" destOrd="0" presId="urn:microsoft.com/office/officeart/2005/8/layout/vList2"/>
    <dgm:cxn modelId="{B760E720-0E4D-4A47-8FA7-13B19A2C629B}" type="presOf" srcId="{CA49F724-C8F4-4212-918A-E1C97EFD6102}" destId="{9E7391D6-27C8-4E12-ACE9-AF444E7EF2EE}" srcOrd="0" destOrd="0" presId="urn:microsoft.com/office/officeart/2005/8/layout/vList2"/>
    <dgm:cxn modelId="{3E8CCC56-CDB0-4F40-A976-E488C6361706}" type="presOf" srcId="{742CD24B-D0F1-427B-9F5D-16D1288C76E4}" destId="{D4CEB88F-4EEF-41E9-B64B-5B7544C7AA7C}" srcOrd="0" destOrd="0" presId="urn:microsoft.com/office/officeart/2005/8/layout/vList2"/>
    <dgm:cxn modelId="{C3C1A67C-C39A-47EF-8415-F964C7E744DE}" srcId="{DCAB421B-1E97-4886-983A-6BC8CF1C6176}" destId="{742CD24B-D0F1-427B-9F5D-16D1288C76E4}" srcOrd="3" destOrd="0" parTransId="{3C99B819-0CAB-491D-992F-C35A0CDECCCD}" sibTransId="{67A002D0-C260-4995-9F07-3FB018EE894D}"/>
    <dgm:cxn modelId="{714C967E-B226-48C9-AD87-8D61B7FF5784}" type="presOf" srcId="{3319F3A2-EDBC-4648-8B52-B279DBBEBBCE}" destId="{25799B0B-CE38-4276-8BC2-0D13A24FE1A9}" srcOrd="0" destOrd="0" presId="urn:microsoft.com/office/officeart/2005/8/layout/vList2"/>
    <dgm:cxn modelId="{E38D078D-8A33-4942-BF74-B46985CBE544}" srcId="{DCAB421B-1E97-4886-983A-6BC8CF1C6176}" destId="{291FB53D-0974-413C-BB7B-FA697AD92825}" srcOrd="1" destOrd="0" parTransId="{1EBA09AF-EABE-43B5-AF20-9D6B13136927}" sibTransId="{FF68A85C-4D8C-4971-BF15-46078A07F73A}"/>
    <dgm:cxn modelId="{A108E5AB-BA6D-480E-A1E8-BA18C03B4AA1}" srcId="{291FB53D-0974-413C-BB7B-FA697AD92825}" destId="{3319F3A2-EDBC-4648-8B52-B279DBBEBBCE}" srcOrd="0" destOrd="0" parTransId="{2FE37D4C-2474-4C60-AF78-BC4301B247C0}" sibTransId="{1405C5FA-0208-4EEB-BECC-483B4FF0FF17}"/>
    <dgm:cxn modelId="{B9D821BC-14B4-4D00-99D1-67C9D1E61C8D}" type="presOf" srcId="{EA0B83DD-3BCB-4422-93AC-35DEC730B4A6}" destId="{41BCAAA1-8F39-43DB-8CB4-780A12030358}" srcOrd="0" destOrd="0" presId="urn:microsoft.com/office/officeart/2005/8/layout/vList2"/>
    <dgm:cxn modelId="{1444BEBE-FCE8-4523-8D66-007B5DA6C07B}" srcId="{DCAB421B-1E97-4886-983A-6BC8CF1C6176}" destId="{390FD0DF-C9A3-4C02-AD15-E5B5702991E1}" srcOrd="2" destOrd="0" parTransId="{690985DF-FD3D-4AF4-957C-B00DAA205D23}" sibTransId="{2B82765C-7E84-47A3-9F9B-AD41E13B0DA9}"/>
    <dgm:cxn modelId="{3D35A9D2-49AB-4E85-A5A2-6C0FAB7B211D}" type="presOf" srcId="{9A74D04C-7260-41D4-A31F-C1636BEE4910}" destId="{5842C95B-EFDE-4543-9BC8-06FFE372A1C1}" srcOrd="0" destOrd="0" presId="urn:microsoft.com/office/officeart/2005/8/layout/vList2"/>
    <dgm:cxn modelId="{5DEFE2D9-43B2-4AD7-8886-62A5122AFB5F}" type="presOf" srcId="{390FD0DF-C9A3-4C02-AD15-E5B5702991E1}" destId="{599A2F38-5AED-4DA5-8CBE-ABA88024A93D}" srcOrd="0" destOrd="0" presId="urn:microsoft.com/office/officeart/2005/8/layout/vList2"/>
    <dgm:cxn modelId="{35CAD4EA-C286-4106-AC20-CE7631882F58}" srcId="{9A74D04C-7260-41D4-A31F-C1636BEE4910}" destId="{8D1A37E9-FD3A-4663-A3B1-D18CD85DDEEA}" srcOrd="0" destOrd="0" parTransId="{CD238EAD-89B8-422D-89C7-D62295512CE8}" sibTransId="{5D27D9B7-18A2-4599-AFD9-834E11596B52}"/>
    <dgm:cxn modelId="{527212F3-C44B-4709-9D06-72CD69B2AC59}" srcId="{390FD0DF-C9A3-4C02-AD15-E5B5702991E1}" destId="{EA0B83DD-3BCB-4422-93AC-35DEC730B4A6}" srcOrd="0" destOrd="0" parTransId="{1833352A-EDB8-41A3-BE49-EC759EE27FE8}" sibTransId="{991D41F0-2CDB-4D76-8085-BA3EC3F20EC7}"/>
    <dgm:cxn modelId="{3FE5EAFC-7A55-461C-9EFD-1CFDBB3C9886}" type="presOf" srcId="{291FB53D-0974-413C-BB7B-FA697AD92825}" destId="{2B8056AB-5C31-4E72-A1C7-9698FD245DF9}" srcOrd="0" destOrd="0" presId="urn:microsoft.com/office/officeart/2005/8/layout/vList2"/>
    <dgm:cxn modelId="{6B579FF2-6B26-465D-ABB6-A0AB4F7AF01C}" type="presParOf" srcId="{B06914A2-6C35-49F5-A0EA-7B12766BF928}" destId="{5842C95B-EFDE-4543-9BC8-06FFE372A1C1}" srcOrd="0" destOrd="0" presId="urn:microsoft.com/office/officeart/2005/8/layout/vList2"/>
    <dgm:cxn modelId="{7786DFF4-4650-46A7-89F9-EB46FFF4F781}" type="presParOf" srcId="{B06914A2-6C35-49F5-A0EA-7B12766BF928}" destId="{0426CC22-5150-4625-824F-0FB2AEE2FBD0}" srcOrd="1" destOrd="0" presId="urn:microsoft.com/office/officeart/2005/8/layout/vList2"/>
    <dgm:cxn modelId="{5AFA1338-0C4C-49A6-8E1F-B4065BCB3395}" type="presParOf" srcId="{B06914A2-6C35-49F5-A0EA-7B12766BF928}" destId="{2B8056AB-5C31-4E72-A1C7-9698FD245DF9}" srcOrd="2" destOrd="0" presId="urn:microsoft.com/office/officeart/2005/8/layout/vList2"/>
    <dgm:cxn modelId="{2E97C410-3444-4CAE-9CE2-688F6B76A21C}" type="presParOf" srcId="{B06914A2-6C35-49F5-A0EA-7B12766BF928}" destId="{25799B0B-CE38-4276-8BC2-0D13A24FE1A9}" srcOrd="3" destOrd="0" presId="urn:microsoft.com/office/officeart/2005/8/layout/vList2"/>
    <dgm:cxn modelId="{D72693A8-E0A5-459A-A636-E59771043663}" type="presParOf" srcId="{B06914A2-6C35-49F5-A0EA-7B12766BF928}" destId="{599A2F38-5AED-4DA5-8CBE-ABA88024A93D}" srcOrd="4" destOrd="0" presId="urn:microsoft.com/office/officeart/2005/8/layout/vList2"/>
    <dgm:cxn modelId="{7C53D035-91C1-49C1-AA11-B83C956B5AE8}" type="presParOf" srcId="{B06914A2-6C35-49F5-A0EA-7B12766BF928}" destId="{41BCAAA1-8F39-43DB-8CB4-780A12030358}" srcOrd="5" destOrd="0" presId="urn:microsoft.com/office/officeart/2005/8/layout/vList2"/>
    <dgm:cxn modelId="{FA60EAEE-AC99-4CDB-97D2-1C8A909B7013}" type="presParOf" srcId="{B06914A2-6C35-49F5-A0EA-7B12766BF928}" destId="{D4CEB88F-4EEF-41E9-B64B-5B7544C7AA7C}" srcOrd="6" destOrd="0" presId="urn:microsoft.com/office/officeart/2005/8/layout/vList2"/>
    <dgm:cxn modelId="{02CE0E4C-DC96-42C4-93AE-4F363D671398}" type="presParOf" srcId="{B06914A2-6C35-49F5-A0EA-7B12766BF928}" destId="{9E7391D6-27C8-4E12-ACE9-AF444E7EF2EE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42C95B-EFDE-4543-9BC8-06FFE372A1C1}">
      <dsp:nvSpPr>
        <dsp:cNvPr id="0" name=""/>
        <dsp:cNvSpPr/>
      </dsp:nvSpPr>
      <dsp:spPr>
        <a:xfrm>
          <a:off x="0" y="1305"/>
          <a:ext cx="5876319" cy="307764"/>
        </a:xfrm>
        <a:prstGeom prst="roundRect">
          <a:avLst/>
        </a:prstGeom>
        <a:solidFill>
          <a:schemeClr val="bg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Nome commerciale*</a:t>
          </a:r>
        </a:p>
      </dsp:txBody>
      <dsp:txXfrm>
        <a:off x="15024" y="16329"/>
        <a:ext cx="5846271" cy="277716"/>
      </dsp:txXfrm>
    </dsp:sp>
    <dsp:sp modelId="{0426CC22-5150-4625-824F-0FB2AEE2FBD0}">
      <dsp:nvSpPr>
        <dsp:cNvPr id="0" name=""/>
        <dsp:cNvSpPr/>
      </dsp:nvSpPr>
      <dsp:spPr>
        <a:xfrm>
          <a:off x="0" y="309070"/>
          <a:ext cx="5876319" cy="495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657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"/>
          </a:pPr>
          <a:r>
            <a:rPr lang="it-IT" sz="1800" b="1" kern="1200" dirty="0"/>
            <a:t>Efficon</a:t>
          </a:r>
          <a:r>
            <a:rPr lang="it-IT" sz="1800" b="1" kern="1200" baseline="30000" dirty="0"/>
            <a:t>®</a:t>
          </a:r>
          <a:br>
            <a:rPr lang="it-IT" sz="1800" b="1" kern="1200" baseline="30000" dirty="0"/>
          </a:br>
          <a:endParaRPr lang="it-IT" sz="1800" b="1" kern="1200" baseline="30000" dirty="0"/>
        </a:p>
      </dsp:txBody>
      <dsp:txXfrm>
        <a:off x="0" y="309070"/>
        <a:ext cx="5876319" cy="495890"/>
      </dsp:txXfrm>
    </dsp:sp>
    <dsp:sp modelId="{2B8056AB-5C31-4E72-A1C7-9698FD245DF9}">
      <dsp:nvSpPr>
        <dsp:cNvPr id="0" name=""/>
        <dsp:cNvSpPr/>
      </dsp:nvSpPr>
      <dsp:spPr>
        <a:xfrm>
          <a:off x="0" y="804960"/>
          <a:ext cx="5876319" cy="307764"/>
        </a:xfrm>
        <a:prstGeom prst="roundRect">
          <a:avLst/>
        </a:prstGeom>
        <a:solidFill>
          <a:schemeClr val="bg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Principio attivo</a:t>
          </a:r>
        </a:p>
      </dsp:txBody>
      <dsp:txXfrm>
        <a:off x="15024" y="819984"/>
        <a:ext cx="5846271" cy="277716"/>
      </dsp:txXfrm>
    </dsp:sp>
    <dsp:sp modelId="{25799B0B-CE38-4276-8BC2-0D13A24FE1A9}">
      <dsp:nvSpPr>
        <dsp:cNvPr id="0" name=""/>
        <dsp:cNvSpPr/>
      </dsp:nvSpPr>
      <dsp:spPr>
        <a:xfrm>
          <a:off x="0" y="1112725"/>
          <a:ext cx="5876319" cy="495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657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"/>
          </a:pPr>
          <a:r>
            <a:rPr lang="it-IT" sz="1800" b="1" kern="1200" dirty="0"/>
            <a:t>Axalion</a:t>
          </a:r>
          <a:r>
            <a:rPr lang="it-IT" sz="1800" b="1" kern="1200" baseline="30000" dirty="0"/>
            <a:t>®</a:t>
          </a:r>
          <a:r>
            <a:rPr lang="it-IT" sz="1800" b="1" kern="1200" dirty="0"/>
            <a:t> | Dimpropyridaz</a:t>
          </a:r>
          <a:br>
            <a:rPr lang="it-IT" sz="1800" b="1" kern="1200" dirty="0"/>
          </a:br>
          <a:endParaRPr lang="it-IT" sz="1800" b="1" kern="1200" dirty="0"/>
        </a:p>
      </dsp:txBody>
      <dsp:txXfrm>
        <a:off x="0" y="1112725"/>
        <a:ext cx="5876319" cy="495890"/>
      </dsp:txXfrm>
    </dsp:sp>
    <dsp:sp modelId="{599A2F38-5AED-4DA5-8CBE-ABA88024A93D}">
      <dsp:nvSpPr>
        <dsp:cNvPr id="0" name=""/>
        <dsp:cNvSpPr/>
      </dsp:nvSpPr>
      <dsp:spPr>
        <a:xfrm>
          <a:off x="0" y="1608615"/>
          <a:ext cx="5876319" cy="307764"/>
        </a:xfrm>
        <a:prstGeom prst="roundRect">
          <a:avLst/>
        </a:prstGeom>
        <a:solidFill>
          <a:schemeClr val="bg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Formulato</a:t>
          </a:r>
        </a:p>
      </dsp:txBody>
      <dsp:txXfrm>
        <a:off x="15024" y="1623639"/>
        <a:ext cx="5846271" cy="277716"/>
      </dsp:txXfrm>
    </dsp:sp>
    <dsp:sp modelId="{41BCAAA1-8F39-43DB-8CB4-780A12030358}">
      <dsp:nvSpPr>
        <dsp:cNvPr id="0" name=""/>
        <dsp:cNvSpPr/>
      </dsp:nvSpPr>
      <dsp:spPr>
        <a:xfrm>
          <a:off x="0" y="1916380"/>
          <a:ext cx="5876319" cy="495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657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"/>
          </a:pPr>
          <a:r>
            <a:rPr lang="it-IT" sz="1800" b="1" kern="1200" dirty="0"/>
            <a:t>SL (liquido solubile)</a:t>
          </a:r>
          <a:br>
            <a:rPr lang="it-IT" sz="1800" b="1" kern="1200" dirty="0"/>
          </a:br>
          <a:endParaRPr lang="it-IT" sz="1800" b="1" kern="1200" dirty="0"/>
        </a:p>
      </dsp:txBody>
      <dsp:txXfrm>
        <a:off x="0" y="1916380"/>
        <a:ext cx="5876319" cy="495890"/>
      </dsp:txXfrm>
    </dsp:sp>
    <dsp:sp modelId="{D4CEB88F-4EEF-41E9-B64B-5B7544C7AA7C}">
      <dsp:nvSpPr>
        <dsp:cNvPr id="0" name=""/>
        <dsp:cNvSpPr/>
      </dsp:nvSpPr>
      <dsp:spPr>
        <a:xfrm>
          <a:off x="0" y="2412270"/>
          <a:ext cx="5876319" cy="307764"/>
        </a:xfrm>
        <a:prstGeom prst="roundRect">
          <a:avLst/>
        </a:prstGeom>
        <a:solidFill>
          <a:schemeClr val="bg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Concentrazione</a:t>
          </a:r>
        </a:p>
      </dsp:txBody>
      <dsp:txXfrm>
        <a:off x="15024" y="2427294"/>
        <a:ext cx="5846271" cy="277716"/>
      </dsp:txXfrm>
    </dsp:sp>
    <dsp:sp modelId="{9E7391D6-27C8-4E12-ACE9-AF444E7EF2EE}">
      <dsp:nvSpPr>
        <dsp:cNvPr id="0" name=""/>
        <dsp:cNvSpPr/>
      </dsp:nvSpPr>
      <dsp:spPr>
        <a:xfrm>
          <a:off x="0" y="2720035"/>
          <a:ext cx="5876319" cy="2673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657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"/>
          </a:pPr>
          <a:r>
            <a:rPr lang="it-IT" sz="1800" b="1" kern="1200" dirty="0"/>
            <a:t>120 g/l</a:t>
          </a:r>
        </a:p>
      </dsp:txBody>
      <dsp:txXfrm>
        <a:off x="0" y="2720035"/>
        <a:ext cx="5876319" cy="2673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160520" cy="365760"/>
          </a:xfrm>
          <a:prstGeom prst="rect">
            <a:avLst/>
          </a:prstGeom>
        </p:spPr>
        <p:txBody>
          <a:bodyPr vert="horz" lIns="91435" tIns="45717" rIns="91435" bIns="45717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438459" y="1"/>
            <a:ext cx="4160520" cy="365760"/>
          </a:xfrm>
          <a:prstGeom prst="rect">
            <a:avLst/>
          </a:prstGeom>
        </p:spPr>
        <p:txBody>
          <a:bodyPr vert="horz" lIns="91435" tIns="45717" rIns="91435" bIns="45717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948171"/>
            <a:ext cx="4160520" cy="365760"/>
          </a:xfrm>
          <a:prstGeom prst="rect">
            <a:avLst/>
          </a:prstGeom>
        </p:spPr>
        <p:txBody>
          <a:bodyPr vert="horz" lIns="91435" tIns="45717" rIns="91435" bIns="45717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438459" y="6948171"/>
            <a:ext cx="4160520" cy="365760"/>
          </a:xfrm>
          <a:prstGeom prst="rect">
            <a:avLst/>
          </a:prstGeom>
        </p:spPr>
        <p:txBody>
          <a:bodyPr vert="horz" lIns="91435" tIns="45717" rIns="91435" bIns="45717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160520" cy="365760"/>
          </a:xfrm>
          <a:prstGeom prst="rect">
            <a:avLst/>
          </a:prstGeom>
        </p:spPr>
        <p:txBody>
          <a:bodyPr vert="horz" lIns="91435" tIns="45717" rIns="91435" bIns="45717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it-I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438459" y="1"/>
            <a:ext cx="4160520" cy="365760"/>
          </a:xfrm>
          <a:prstGeom prst="rect">
            <a:avLst/>
          </a:prstGeom>
        </p:spPr>
        <p:txBody>
          <a:bodyPr vert="horz" lIns="91435" tIns="45717" rIns="91435" bIns="45717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it-I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363788" y="549275"/>
            <a:ext cx="4873625" cy="2743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7" rIns="91435" bIns="4571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60120" y="3474721"/>
            <a:ext cx="7680960" cy="32918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77" lvl="0" indent="-179377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it-IT" dirty="0" err="1"/>
              <a:t>Textmasterformat</a:t>
            </a:r>
            <a:r>
              <a:rPr lang="it-IT" dirty="0"/>
              <a:t> </a:t>
            </a:r>
            <a:r>
              <a:rPr lang="it-IT" dirty="0" err="1"/>
              <a:t>bearbeiten</a:t>
            </a:r>
            <a:endParaRPr lang="it-IT" dirty="0"/>
          </a:p>
          <a:p>
            <a:pPr marL="360343" lvl="1" indent="-180964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it-IT" dirty="0" err="1"/>
              <a:t>Zweite</a:t>
            </a:r>
            <a:r>
              <a:rPr lang="it-IT" dirty="0"/>
              <a:t> </a:t>
            </a:r>
            <a:r>
              <a:rPr lang="it-IT" dirty="0" err="1"/>
              <a:t>Ebene</a:t>
            </a:r>
            <a:endParaRPr lang="it-IT" dirty="0"/>
          </a:p>
          <a:p>
            <a:pPr marL="525433" lvl="2" indent="-16509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it-IT" dirty="0"/>
              <a:t>Dritte </a:t>
            </a:r>
            <a:r>
              <a:rPr lang="it-IT" dirty="0" err="1"/>
              <a:t>Ebene</a:t>
            </a:r>
            <a:endParaRPr lang="it-IT" dirty="0"/>
          </a:p>
          <a:p>
            <a:pPr marL="673061" lvl="3" indent="-136517">
              <a:lnSpc>
                <a:spcPct val="95000"/>
              </a:lnSpc>
              <a:buFont typeface="Arial" pitchFamily="34" charset="0"/>
              <a:buChar char="–"/>
            </a:pPr>
            <a:r>
              <a:rPr lang="it-IT" dirty="0" err="1"/>
              <a:t>Vierte</a:t>
            </a:r>
            <a:r>
              <a:rPr lang="it-IT" dirty="0"/>
              <a:t> </a:t>
            </a:r>
            <a:r>
              <a:rPr lang="it-IT" dirty="0" err="1"/>
              <a:t>Ebene</a:t>
            </a:r>
            <a:endParaRPr lang="it-I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438459" y="6948171"/>
            <a:ext cx="4160520" cy="365760"/>
          </a:xfrm>
          <a:prstGeom prst="rect">
            <a:avLst/>
          </a:prstGeom>
        </p:spPr>
        <p:txBody>
          <a:bodyPr vert="horz" lIns="91435" tIns="45717" rIns="91435" bIns="45717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2" y="6948171"/>
            <a:ext cx="4160520" cy="365760"/>
          </a:xfrm>
          <a:prstGeom prst="rect">
            <a:avLst/>
          </a:prstGeom>
        </p:spPr>
        <p:txBody>
          <a:bodyPr vert="horz" lIns="91435" tIns="45717" rIns="91435" bIns="45717" rtlCol="0" anchor="b"/>
          <a:lstStyle>
            <a:lvl1pPr algn="l">
              <a:defRPr sz="1200"/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663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8650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704E2-F526-377D-DD07-F51B3600D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1276FB6B-DD70-1F95-5085-0A85BD9D14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D5834E8C-A7F4-3E30-678D-8939DD020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796BE3A2-5517-9A52-060F-7A103AE10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663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C40DA6A-5F8F-FFC6-45D7-4E424E28108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6367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663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06158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9109B0-40BE-2995-F69F-AF1B9CF52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877980-3BD5-4F11-AC36-9EA7A59405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C8FF43-B822-6C7C-BD9F-5AE4AF29F3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338">
              <a:defRPr/>
            </a:pPr>
            <a:r>
              <a:rPr lang="it">
                <a:solidFill>
                  <a:schemeClr val="bg1"/>
                </a:solidFill>
              </a:rPr>
              <a:t>Client per aggiungere qualsiasi testo pertinente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9888CE-9E05-DED6-D157-98519B7375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663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F61A48-46A7-2EC3-2D11-A20AEC6B5BD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6698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8B6F17-AEEB-3D0D-6567-1BF342E722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DBA0F025-3970-3AAA-8EA4-FC07305BD4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FA6697DC-704A-D97C-62BC-72C9EA9B7C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29AC578-D3A5-017F-C8C2-DCC4970F7A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1CB7AA1-8B76-2D34-495B-67688153BFE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435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5DEE65-1C24-28CF-4E12-83C38DAE4D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CD658C-F193-0D27-E6B6-01603F2E9B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82523D-4AA2-09B6-3E07-59A9417D40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C5A0F-DFE4-E865-F591-4CC4EA75CF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pPr marL="0" marR="0" lvl="0" indent="0" algn="r" defTabSz="9663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6948E7-392F-A703-42BF-DBF1F05BE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2374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0" lvl="0" indent="-1714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6B0D5B-8B9F-47F6-B567-A780C7944B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3147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A0279B-E5E4-9A97-D991-D42ADBB3E1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024E68-2DF3-A090-F41C-D532751DB8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557587-84E3-E015-5CBA-D58F093463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2CE1AF-B5C7-41F4-3582-4E90D0962C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663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5B0C13-4482-1990-199C-84A8189372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9737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dirty="0"/>
              <a:t>Regulatory ci fa avere per intro:</a:t>
            </a:r>
          </a:p>
          <a:p>
            <a:pPr marL="181188" indent="-181188">
              <a:buFont typeface="Arial" panose="020B0604020202020204" pitchFamily="34" charset="0"/>
              <a:buChar char="•"/>
            </a:pPr>
            <a:r>
              <a:rPr lang="it-IT" b="1" dirty="0"/>
              <a:t>FRASE «</a:t>
            </a:r>
            <a:r>
              <a:rPr lang="it-IT" b="1" i="1" dirty="0"/>
              <a:t>GENERICA</a:t>
            </a:r>
            <a:r>
              <a:rPr lang="it-IT" b="1" dirty="0"/>
              <a:t>» SU STATO REGOLATORIO IN EUROPA.</a:t>
            </a:r>
          </a:p>
          <a:p>
            <a:pPr defTabSz="966338">
              <a:defRPr/>
            </a:pPr>
            <a:endParaRPr lang="it-IT" b="1" dirty="0"/>
          </a:p>
          <a:p>
            <a:pPr defTabSz="966338">
              <a:defRPr/>
            </a:pPr>
            <a:r>
              <a:rPr lang="it-IT" b="1" dirty="0"/>
              <a:t>Per Q&amp;A (fake o vere)</a:t>
            </a:r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r>
              <a:rPr lang="it-IT" b="1" dirty="0"/>
              <a:t>Paesi dove è già registrato (per disponibilità «fisica» del prodotto) </a:t>
            </a:r>
            <a:r>
              <a:rPr lang="it-IT" b="1" i="1" dirty="0"/>
              <a:t>(Ok per domanda fake -&gt; MV) </a:t>
            </a:r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r>
              <a:rPr lang="it-IT" sz="1300" b="1" dirty="0"/>
              <a:t>Ci saranno altre colture in etichetta? </a:t>
            </a:r>
            <a:r>
              <a:rPr lang="it-IT" b="1" i="1" dirty="0"/>
              <a:t>(Ok per domanda fake -&gt; GPR) </a:t>
            </a:r>
            <a:endParaRPr lang="it-IT" sz="1300" b="1" dirty="0"/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r>
              <a:rPr lang="it-IT" b="1" dirty="0"/>
              <a:t>Regulatory: frase su tempi di registrazione</a:t>
            </a:r>
          </a:p>
          <a:p>
            <a:pPr marL="181188" indent="-181188">
              <a:buFont typeface="Arial" panose="020B0604020202020204" pitchFamily="34" charset="0"/>
              <a:buChar char="•"/>
            </a:pPr>
            <a:r>
              <a:rPr lang="it-IT" b="1" dirty="0"/>
              <a:t>Etichetta e frasi di rischio e misure di mitigazione</a:t>
            </a:r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endParaRPr lang="it-IT" b="1" dirty="0"/>
          </a:p>
          <a:p>
            <a:pPr defTabSz="966338">
              <a:defRPr/>
            </a:pPr>
            <a:endParaRPr lang="it-IT" b="1" dirty="0"/>
          </a:p>
          <a:p>
            <a:endParaRPr lang="it-IT" b="1" dirty="0"/>
          </a:p>
          <a:p>
            <a:pPr marL="181188" indent="-181188">
              <a:buFont typeface="Arial" panose="020B0604020202020204" pitchFamily="34" charset="0"/>
              <a:buChar char="•"/>
            </a:pPr>
            <a:endParaRPr lang="it-IT" b="1" dirty="0"/>
          </a:p>
          <a:p>
            <a:endParaRPr lang="it-IT" b="1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9634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6C8D0A-C371-060A-9979-526D11229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801B33BF-94B8-0017-848B-26C0BA4CC2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CD2DC711-583A-F156-FE16-8DF142E8F7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dirty="0"/>
              <a:t>Regulatory ci fa avere per intro:</a:t>
            </a:r>
          </a:p>
          <a:p>
            <a:pPr marL="181188" indent="-181188">
              <a:buFont typeface="Arial" panose="020B0604020202020204" pitchFamily="34" charset="0"/>
              <a:buChar char="•"/>
            </a:pPr>
            <a:r>
              <a:rPr lang="it-IT" b="1" dirty="0"/>
              <a:t>FRASE «</a:t>
            </a:r>
            <a:r>
              <a:rPr lang="it-IT" b="1" i="1" dirty="0"/>
              <a:t>GENERICA</a:t>
            </a:r>
            <a:r>
              <a:rPr lang="it-IT" b="1" dirty="0"/>
              <a:t>» SU STATO REGOLATORIO IN EUROPA.</a:t>
            </a:r>
          </a:p>
          <a:p>
            <a:pPr defTabSz="966338">
              <a:defRPr/>
            </a:pPr>
            <a:endParaRPr lang="it-IT" b="1" dirty="0"/>
          </a:p>
          <a:p>
            <a:pPr defTabSz="966338">
              <a:defRPr/>
            </a:pPr>
            <a:r>
              <a:rPr lang="it-IT" b="1" dirty="0"/>
              <a:t>Per Q&amp;A (fake o vere)</a:t>
            </a:r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r>
              <a:rPr lang="it-IT" b="1" dirty="0"/>
              <a:t>Paesi dove è già registrato (per disponibilità «fisica» del prodotto) </a:t>
            </a:r>
            <a:r>
              <a:rPr lang="it-IT" b="1" i="1" dirty="0"/>
              <a:t>(Ok per domanda fake -&gt; MV) </a:t>
            </a:r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r>
              <a:rPr lang="it-IT" sz="1300" b="1" dirty="0"/>
              <a:t>Ci saranno altre colture in etichetta? </a:t>
            </a:r>
            <a:r>
              <a:rPr lang="it-IT" b="1" i="1" dirty="0"/>
              <a:t>(Ok per domanda fake -&gt; GPR) </a:t>
            </a:r>
            <a:endParaRPr lang="it-IT" sz="1300" b="1" dirty="0"/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r>
              <a:rPr lang="it-IT" b="1" dirty="0"/>
              <a:t>Regulatory: frase su tempi di registrazione</a:t>
            </a:r>
          </a:p>
          <a:p>
            <a:pPr marL="181188" indent="-181188">
              <a:buFont typeface="Arial" panose="020B0604020202020204" pitchFamily="34" charset="0"/>
              <a:buChar char="•"/>
            </a:pPr>
            <a:r>
              <a:rPr lang="it-IT" b="1" dirty="0"/>
              <a:t>Etichetta e frasi di rischio e misure di mitigazione</a:t>
            </a:r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endParaRPr lang="it-IT" b="1" dirty="0"/>
          </a:p>
          <a:p>
            <a:pPr defTabSz="966338">
              <a:defRPr/>
            </a:pPr>
            <a:endParaRPr lang="it-IT" b="1" dirty="0"/>
          </a:p>
          <a:p>
            <a:endParaRPr lang="it-IT" b="1" dirty="0"/>
          </a:p>
          <a:p>
            <a:pPr marL="181188" indent="-181188">
              <a:buFont typeface="Arial" panose="020B0604020202020204" pitchFamily="34" charset="0"/>
              <a:buChar char="•"/>
            </a:pPr>
            <a:endParaRPr lang="it-IT" b="1" dirty="0"/>
          </a:p>
          <a:p>
            <a:endParaRPr lang="it-IT" b="1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736BFF2E-92E6-90C7-61EF-DD98F4D557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995CEBD-A860-1022-ADA0-5C1696DCC34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91311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D21E7F-1F43-2F8B-1C7E-C7A2C57D5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6F5B08B-C8D4-27A5-DF5A-920AA5A025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D610E491-3AF1-6E01-A113-9DE1EBE85A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dirty="0"/>
              <a:t>Regulatory ci fa avere per intro:</a:t>
            </a:r>
          </a:p>
          <a:p>
            <a:pPr marL="181188" indent="-181188">
              <a:buFont typeface="Arial" panose="020B0604020202020204" pitchFamily="34" charset="0"/>
              <a:buChar char="•"/>
            </a:pPr>
            <a:r>
              <a:rPr lang="it-IT" b="1" dirty="0"/>
              <a:t>FRASE «</a:t>
            </a:r>
            <a:r>
              <a:rPr lang="it-IT" b="1" i="1" dirty="0"/>
              <a:t>GENERICA</a:t>
            </a:r>
            <a:r>
              <a:rPr lang="it-IT" b="1" dirty="0"/>
              <a:t>» SU STATO REGOLATORIO IN EUROPA.</a:t>
            </a:r>
          </a:p>
          <a:p>
            <a:pPr defTabSz="966338">
              <a:defRPr/>
            </a:pPr>
            <a:endParaRPr lang="it-IT" b="1" dirty="0"/>
          </a:p>
          <a:p>
            <a:pPr defTabSz="966338">
              <a:defRPr/>
            </a:pPr>
            <a:r>
              <a:rPr lang="it-IT" b="1" dirty="0"/>
              <a:t>Per Q&amp;A (fake o vere)</a:t>
            </a:r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r>
              <a:rPr lang="it-IT" b="1" dirty="0"/>
              <a:t>Paesi dove è già registrato (per disponibilità «fisica» del prodotto) </a:t>
            </a:r>
            <a:r>
              <a:rPr lang="it-IT" b="1" i="1" dirty="0"/>
              <a:t>(Ok per domanda fake -&gt; MV) </a:t>
            </a:r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r>
              <a:rPr lang="it-IT" sz="1300" b="1" dirty="0"/>
              <a:t>Ci saranno altre colture in etichetta? </a:t>
            </a:r>
            <a:r>
              <a:rPr lang="it-IT" b="1" i="1" dirty="0"/>
              <a:t>(Ok per domanda fake -&gt; GPR) </a:t>
            </a:r>
            <a:endParaRPr lang="it-IT" sz="1300" b="1" dirty="0"/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r>
              <a:rPr lang="it-IT" b="1" dirty="0"/>
              <a:t>Regulatory: frase su tempi di registrazione</a:t>
            </a:r>
          </a:p>
          <a:p>
            <a:pPr marL="181188" indent="-181188">
              <a:buFont typeface="Arial" panose="020B0604020202020204" pitchFamily="34" charset="0"/>
              <a:buChar char="•"/>
            </a:pPr>
            <a:r>
              <a:rPr lang="it-IT" b="1" dirty="0"/>
              <a:t>Etichetta e frasi di rischio e misure di mitigazione</a:t>
            </a:r>
          </a:p>
          <a:p>
            <a:pPr marL="181188" indent="-181188" defTabSz="966338">
              <a:buFont typeface="Arial" panose="020B0604020202020204" pitchFamily="34" charset="0"/>
              <a:buChar char="•"/>
              <a:defRPr/>
            </a:pPr>
            <a:endParaRPr lang="it-IT" b="1" dirty="0"/>
          </a:p>
          <a:p>
            <a:pPr defTabSz="966338">
              <a:defRPr/>
            </a:pPr>
            <a:endParaRPr lang="it-IT" b="1" dirty="0"/>
          </a:p>
          <a:p>
            <a:endParaRPr lang="it-IT" b="1" dirty="0"/>
          </a:p>
          <a:p>
            <a:pPr marL="181188" indent="-181188">
              <a:buFont typeface="Arial" panose="020B0604020202020204" pitchFamily="34" charset="0"/>
              <a:buChar char="•"/>
            </a:pPr>
            <a:endParaRPr lang="it-IT" b="1" dirty="0"/>
          </a:p>
          <a:p>
            <a:endParaRPr lang="it-IT" b="1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50143BC-F919-5E15-C635-D669F9B99B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DFBE882-8F9D-5448-3B6E-FE72029B35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2987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9212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716BFA-6508-AAB0-2B3F-1AE32D88F4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9108C6-A137-4EE9-8B2D-27FEDB1F5A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B2362D-1F50-26C9-F47C-FA47D93C28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338">
              <a:defRPr/>
            </a:pPr>
            <a:r>
              <a:rPr lang="it">
                <a:solidFill>
                  <a:schemeClr val="bg1"/>
                </a:solidFill>
              </a:rPr>
              <a:t>Client per aggiungere qualsiasi testo pertinente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D32612-F5D5-EAB2-ED03-9E43304247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663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03ED8-39E4-E766-1F4B-DB578D0639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66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79580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Relationship Id="rId4" Type="http://schemas.openxmlformats.org/officeDocument/2006/relationships/image" Target="../media/image10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.xml"/><Relationship Id="rId5" Type="http://schemas.openxmlformats.org/officeDocument/2006/relationships/image" Target="../media/image21.png"/><Relationship Id="rId4" Type="http://schemas.openxmlformats.org/officeDocument/2006/relationships/image" Target="../media/image4.emf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.xml"/><Relationship Id="rId4" Type="http://schemas.openxmlformats.org/officeDocument/2006/relationships/image" Target="../media/image10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.xml"/><Relationship Id="rId5" Type="http://schemas.openxmlformats.org/officeDocument/2006/relationships/image" Target="../media/image21.png"/><Relationship Id="rId4" Type="http://schemas.openxmlformats.org/officeDocument/2006/relationships/image" Target="../media/image4.emf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.xml"/><Relationship Id="rId4" Type="http://schemas.openxmlformats.org/officeDocument/2006/relationships/image" Target="../media/image22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1.xml"/><Relationship Id="rId5" Type="http://schemas.openxmlformats.org/officeDocument/2006/relationships/image" Target="../media/image21.png"/><Relationship Id="rId4" Type="http://schemas.openxmlformats.org/officeDocument/2006/relationships/image" Target="../media/image4.emf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5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0.emf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5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4.xml"/><Relationship Id="rId4" Type="http://schemas.openxmlformats.org/officeDocument/2006/relationships/image" Target="../media/image3.emf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.xml"/><Relationship Id="rId5" Type="http://schemas.openxmlformats.org/officeDocument/2006/relationships/image" Target="../media/image26.png"/><Relationship Id="rId4" Type="http://schemas.openxmlformats.org/officeDocument/2006/relationships/image" Target="../media/image4.emf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5.pn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6.xml"/><Relationship Id="rId4" Type="http://schemas.openxmlformats.org/officeDocument/2006/relationships/image" Target="../media/image3.emf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5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7.xml"/><Relationship Id="rId4" Type="http://schemas.openxmlformats.org/officeDocument/2006/relationships/image" Target="../media/image3.emf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5.png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8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9.xml"/><Relationship Id="rId5" Type="http://schemas.openxmlformats.org/officeDocument/2006/relationships/image" Target="../media/image26.png"/><Relationship Id="rId4" Type="http://schemas.openxmlformats.org/officeDocument/2006/relationships/image" Target="../media/image4.emf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2.xml"/><Relationship Id="rId4" Type="http://schemas.openxmlformats.org/officeDocument/2006/relationships/image" Target="../media/image4.emf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3.xml"/><Relationship Id="rId5" Type="http://schemas.openxmlformats.org/officeDocument/2006/relationships/image" Target="../media/image29.png"/><Relationship Id="rId4" Type="http://schemas.openxmlformats.org/officeDocument/2006/relationships/image" Target="../media/image4.emf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1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47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tags" Target="../tags/tag57.xml"/><Relationship Id="rId7" Type="http://schemas.openxmlformats.org/officeDocument/2006/relationships/oleObject" Target="../embeddings/oleObject20.bin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0.xml"/><Relationship Id="rId4" Type="http://schemas.openxmlformats.org/officeDocument/2006/relationships/image" Target="../media/image4.emf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1.xml"/><Relationship Id="rId5" Type="http://schemas.openxmlformats.org/officeDocument/2006/relationships/image" Target="../media/image29.png"/><Relationship Id="rId4" Type="http://schemas.openxmlformats.org/officeDocument/2006/relationships/image" Target="../media/image4.emf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tags" Target="../tags/tag64.xml"/><Relationship Id="rId7" Type="http://schemas.openxmlformats.org/officeDocument/2006/relationships/oleObject" Target="../embeddings/oleObject20.bin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8.xml"/><Relationship Id="rId4" Type="http://schemas.openxmlformats.org/officeDocument/2006/relationships/image" Target="../media/image10.emf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75.xml"/><Relationship Id="rId5" Type="http://schemas.openxmlformats.org/officeDocument/2006/relationships/image" Target="../media/image33.png"/><Relationship Id="rId4" Type="http://schemas.openxmlformats.org/officeDocument/2006/relationships/image" Target="../media/image4.emf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4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0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Relationship Id="rId4" Type="http://schemas.openxmlformats.org/officeDocument/2006/relationships/image" Target="../media/image10.emf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.xml"/><Relationship Id="rId4" Type="http://schemas.openxmlformats.org/officeDocument/2006/relationships/image" Target="../media/image10.emf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2EA2C71A-13C2-4A0B-984E-75A1722806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734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6" progId="TCLayout.ActiveDocument.1">
                  <p:embed/>
                </p:oleObj>
              </mc:Choice>
              <mc:Fallback>
                <p:oleObj name="Diapositiva think-cell" r:id="rId4" imgW="347" imgH="34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2EA2C71A-13C2-4A0B-984E-75A172280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D66C9560-B30D-42AA-BEA9-441AA33FCD1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it-IT" smtClean="0"/>
              <a:t>24/04/2026</a:t>
            </a:fld>
            <a:endParaRPr lang="it-IT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-IT" dirty="0"/>
              <a:t>|  </a:t>
            </a:r>
            <a:r>
              <a:rPr lang="it-IT" dirty="0" err="1"/>
              <a:t>Optionale</a:t>
            </a:r>
            <a:r>
              <a:rPr lang="it-IT" dirty="0"/>
              <a:t> </a:t>
            </a:r>
            <a:r>
              <a:rPr lang="it-IT" dirty="0" err="1"/>
              <a:t>Zusatzinformationen</a:t>
            </a:r>
            <a:endParaRPr lang="it-IT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 err="1"/>
              <a:t>Titelmasterformat</a:t>
            </a:r>
            <a:r>
              <a:rPr lang="it-IT" dirty="0"/>
              <a:t> </a:t>
            </a:r>
            <a:r>
              <a:rPr lang="it-IT" dirty="0" err="1"/>
              <a:t>durch</a:t>
            </a:r>
            <a:r>
              <a:rPr lang="it-IT" dirty="0"/>
              <a:t> </a:t>
            </a:r>
            <a:r>
              <a:rPr lang="it-IT" dirty="0" err="1"/>
              <a:t>Klicken</a:t>
            </a:r>
            <a:r>
              <a:rPr lang="it-IT" dirty="0"/>
              <a:t> </a:t>
            </a:r>
            <a:r>
              <a:rPr lang="it-IT" dirty="0" err="1"/>
              <a:t>bearbeiten</a:t>
            </a:r>
            <a:endParaRPr lang="it-IT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master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rbeiten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15963" marR="0" lvl="1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081088" marR="0" lvl="2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433513" marR="0" lvl="3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9749041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109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10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de-AT">
                <a:solidFill>
                  <a:srgbClr val="000000"/>
                </a:solidFill>
              </a:rPr>
              <a:t>December 5/6, 2019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681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739DD-91D0-49AF-B8A6-831F2F9E3B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FA6A31-5CF3-4C79-83F0-C8470905DB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62" indent="0" algn="ctr">
              <a:buNone/>
              <a:defRPr sz="2000"/>
            </a:lvl2pPr>
            <a:lvl3pPr marL="914127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3" indent="0" algn="ctr">
              <a:buNone/>
              <a:defRPr sz="1600"/>
            </a:lvl6pPr>
            <a:lvl7pPr marL="2742378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0CAB55-60F6-4344-92D7-BABD0B0F9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7F5598-374F-4EB7-90D0-7778DF10F426}" type="datetimeFigureOut">
              <a:rPr lang="it-IT" smtClean="0"/>
              <a:t>24/04/2026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0E592C-4350-4F27-8358-E808D2784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07D8C-97CC-47FC-A4EC-DBC1ED7B6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3376-F6FB-4F39-A6D0-7616810F91E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86707175"/>
      </p:ext>
    </p:extLst>
  </p:cSld>
  <p:clrMapOvr>
    <a:masterClrMapping/>
  </p:clrMapOvr>
  <p:hf sldNum="0"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06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Axalion</a:t>
            </a:r>
            <a:r>
              <a:rPr lang="de-DE" baseline="30000"/>
              <a:t>®</a:t>
            </a:r>
            <a:r>
              <a:rPr lang="de-DE"/>
              <a:t> 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479215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Axalion</a:t>
            </a:r>
            <a:r>
              <a:rPr lang="de-DE" baseline="30000"/>
              <a:t>®</a:t>
            </a:r>
            <a:r>
              <a:rPr lang="de-DE"/>
              <a:t> 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42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4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de-AT">
                <a:solidFill>
                  <a:srgbClr val="000000"/>
                </a:solidFill>
              </a:rPr>
              <a:t>December 5/6, 2019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32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227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739DD-91D0-49AF-B8A6-831F2F9E3B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FA6A31-5CF3-4C79-83F0-C8470905DB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62" indent="0" algn="ctr">
              <a:buNone/>
              <a:defRPr sz="2000"/>
            </a:lvl2pPr>
            <a:lvl3pPr marL="914127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3" indent="0" algn="ctr">
              <a:buNone/>
              <a:defRPr sz="1600"/>
            </a:lvl6pPr>
            <a:lvl7pPr marL="2742378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0CAB55-60F6-4344-92D7-BABD0B0F9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7F5598-374F-4EB7-90D0-7778DF10F426}" type="datetimeFigureOut">
              <a:rPr lang="it-IT" smtClean="0"/>
              <a:t>24/04/2026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0E592C-4350-4F27-8358-E808D2784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07D8C-97CC-47FC-A4EC-DBC1ED7B6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3376-F6FB-4F39-A6D0-7616810F91E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2644575"/>
      </p:ext>
    </p:extLst>
  </p:cSld>
  <p:clrMapOvr>
    <a:masterClrMapping/>
  </p:clrMapOvr>
  <p:hf sldNum="0"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Optiona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FF57D4-566D-4B5C-B9FF-3041471793EE}" type="datetime1">
              <a:rPr lang="de-DE" smtClean="0"/>
              <a:t>24.04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952921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8C7A13A-53DF-4C82-A9D2-23D0AB47A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81097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530" imgH="531" progId="TCLayout.ActiveDocument.1">
                  <p:embed/>
                </p:oleObj>
              </mc:Choice>
              <mc:Fallback>
                <p:oleObj name="Diapositiva de think-cell" r:id="rId3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8C7A13A-53DF-4C82-A9D2-23D0AB47A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6030286" y="6451321"/>
            <a:ext cx="12984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C50022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  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C50022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309">
              <a:defRPr/>
            </a:pPr>
            <a:r>
              <a:rPr lang="de-DE">
                <a:solidFill>
                  <a:srgbClr val="000000"/>
                </a:solidFill>
              </a:rPr>
              <a:t>03.12.2019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pPr defTabSz="914309">
              <a:defRPr/>
            </a:pPr>
            <a:r>
              <a:rPr lang="en-US"/>
              <a:t>| SPCs Team Meeting</a:t>
            </a:r>
            <a:endParaRPr lang="de-DE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pPr defTabSz="914309">
              <a:defRPr/>
            </a:pPr>
            <a:fld id="{82EA1D04-CA53-4DE3-84A8-2B63E41036C9}" type="slidenum">
              <a:rPr lang="de-DE" smtClean="0">
                <a:solidFill>
                  <a:srgbClr val="000000"/>
                </a:solidFill>
              </a:rPr>
              <a:pPr defTabSz="914309"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2" y="1964567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735951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" dirty="0"/>
              <a:t>Workshop sulla messaggistica globale di Axalion | Novembre 2021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0219802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963" marR="0" lvl="1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1088" marR="0" lvl="2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18653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951922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714336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935779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848643" y="6659665"/>
            <a:ext cx="467939" cy="151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4092" y="6659665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514395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05515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380999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013540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00950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964044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</p:spTree>
    <p:extLst>
      <p:ext uri="{BB962C8B-B14F-4D97-AF65-F5344CB8AC3E}">
        <p14:creationId xmlns:p14="http://schemas.microsoft.com/office/powerpoint/2010/main" val="3564756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"/>
              <a:t>Messaggi sui tratti del cotone | Giugno 2021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61863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71128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359073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711089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697" y="431803"/>
            <a:ext cx="11752320" cy="54403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939567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805800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287172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795506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697" y="1965328"/>
            <a:ext cx="1175232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697" y="3994153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327431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7" y="1965328"/>
            <a:ext cx="1175232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697" y="3994153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963849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504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5425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1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it"/>
              <a:t>Mastertextformat bearbeiten</a:t>
            </a:r>
          </a:p>
          <a:p>
            <a:pPr lvl="1"/>
            <a:r>
              <a:rPr lang="it"/>
              <a:t>Zweite Ebene</a:t>
            </a:r>
          </a:p>
          <a:p>
            <a:pPr lvl="2"/>
            <a:r>
              <a:rPr lang="it"/>
              <a:t>Dritte Ebene</a:t>
            </a:r>
          </a:p>
          <a:p>
            <a:pPr lvl="3"/>
            <a:r>
              <a:rPr lang="it"/>
              <a:t>Vierte Ebene</a:t>
            </a:r>
          </a:p>
          <a:p>
            <a:pPr lvl="4"/>
            <a:r>
              <a:rPr lang="it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it">
                <a:solidFill>
                  <a:srgbClr val="000000"/>
                </a:solidFill>
              </a:rPr>
              <a:t>5/6 dicembre 2019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996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69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30086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697" y="3994153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00802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69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504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700732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625300"/>
      </p:ext>
    </p:extLst>
  </p:cSld>
  <p:clrMapOvr>
    <a:masterClrMapping/>
  </p:clrMapOvr>
  <p:transition spd="med">
    <p:wipe dir="r"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1_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059467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53163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1_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77134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1_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848643" y="6659665"/>
            <a:ext cx="467939" cy="151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4092" y="6659665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214417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1_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040545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1_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8544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"/>
              <a:t>|  Optionale Zusá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276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1_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10960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1_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989565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1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870445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</p:spTree>
    <p:extLst>
      <p:ext uri="{BB962C8B-B14F-4D97-AF65-F5344CB8AC3E}">
        <p14:creationId xmlns:p14="http://schemas.microsoft.com/office/powerpoint/2010/main" val="307349686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856353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1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48597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1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655564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697" y="431803"/>
            <a:ext cx="11752320" cy="54403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100298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11578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1_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0546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78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1_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65734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1_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697" y="1965328"/>
            <a:ext cx="1175232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697" y="3994153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817436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1_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7" y="1965328"/>
            <a:ext cx="1175232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697" y="3994153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20777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1_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504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218178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1_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69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54961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1_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697" y="3994153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951385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1_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69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504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26288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8" y="1965325"/>
            <a:ext cx="5799970" cy="39068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8" y="1965325"/>
            <a:ext cx="5799970" cy="39068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961926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903636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84030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296819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048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848642" y="6659665"/>
            <a:ext cx="467939" cy="151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4091" y="6659665"/>
            <a:ext cx="359953" cy="151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130773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698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770100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494100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922678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048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300166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698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871014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568313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723894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04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880758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69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821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332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697" y="431801"/>
            <a:ext cx="11752320" cy="54403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57956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379803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048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376612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698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879796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697" y="1965326"/>
            <a:ext cx="1175232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697" y="3994151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854419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7" y="1965326"/>
            <a:ext cx="1175232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697" y="3994151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572230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8" y="1965326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5048" y="3994151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033591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8" y="1965326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698" y="3994151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5048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413273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8" y="1965326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8" y="1965326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697" y="3994151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250034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8" y="1965326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8" y="1965326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698" y="3994151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5048" y="3994151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00633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AT" err="1">
                <a:solidFill>
                  <a:srgbClr val="000000"/>
                </a:solidFill>
              </a:rPr>
              <a:t>December</a:t>
            </a:r>
            <a:r>
              <a:rPr lang="de-AT">
                <a:solidFill>
                  <a:srgbClr val="000000"/>
                </a:solidFill>
              </a:rPr>
              <a:t> 5/6, 2019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87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8C7A13A-53DF-4C82-A9D2-23D0AB47A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81097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8C7A13A-53DF-4C82-A9D2-23D0AB47A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1" y="1964565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31438346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76850"/>
      </p:ext>
    </p:extLst>
  </p:cSld>
  <p:clrMapOvr>
    <a:masterClrMapping/>
  </p:clrMapOvr>
  <p:transition spd="med">
    <p:wipe dir="r"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5">
            <a:extLst>
              <a:ext uri="{FF2B5EF4-FFF2-40B4-BE49-F238E27FC236}">
                <a16:creationId xmlns:a16="http://schemas.microsoft.com/office/drawing/2014/main" id="{6CAD12DC-F8E2-45D5-ACCC-887B66C957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671" y="6516409"/>
            <a:ext cx="468065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E75C890E-292F-4AD2-87B2-2BAFC6206C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7822" y="6516111"/>
            <a:ext cx="3363831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Foliennummernplatzhalter 7">
            <a:extLst>
              <a:ext uri="{FF2B5EF4-FFF2-40B4-BE49-F238E27FC236}">
                <a16:creationId xmlns:a16="http://schemas.microsoft.com/office/drawing/2014/main" id="{9F78B972-5669-402A-9DCB-2563F550D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6984" y="6514798"/>
            <a:ext cx="3841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21730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469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60" imgH="360" progId="TCLayout.ActiveDocument.1">
                  <p:embed/>
                </p:oleObj>
              </mc:Choice>
              <mc:Fallback>
                <p:oleObj name="Diapositiva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A87E9FA8-2802-45B0-A182-DC133799740F}" type="datetime1">
              <a:rPr lang="de-DE" smtClean="0"/>
              <a:t>24.04.202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618030165"/>
      </p:ext>
    </p:extLst>
  </p:cSld>
  <p:clrMapOvr>
    <a:masterClrMapping/>
  </p:clrMapOvr>
  <p:hf hdr="0" ft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438514"/>
      </p:ext>
    </p:extLst>
  </p:cSld>
  <p:clrMapOvr>
    <a:masterClrMapping/>
  </p:clrMapOvr>
  <p:transition spd="med">
    <p:wipe dir="r"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14536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010247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88354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848643" y="6659665"/>
            <a:ext cx="467939" cy="151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4092" y="6659665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979102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4129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8171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754997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456828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287562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200712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</p:spTree>
    <p:extLst>
      <p:ext uri="{BB962C8B-B14F-4D97-AF65-F5344CB8AC3E}">
        <p14:creationId xmlns:p14="http://schemas.microsoft.com/office/powerpoint/2010/main" val="253411315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82179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767715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207101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697" y="431803"/>
            <a:ext cx="11752320" cy="54403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381037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075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23783B6A-06FE-40BF-A4AB-15A40BC96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971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6" progId="TCLayout.ActiveDocument.1">
                  <p:embed/>
                </p:oleObj>
              </mc:Choice>
              <mc:Fallback>
                <p:oleObj name="Diapositiva think-cell" r:id="rId4" imgW="347" imgH="34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23783B6A-06FE-40BF-A4AB-15A40BC96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C5E0DA92-D54D-4C16-A1AC-07E0F65E09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it-IT" smtClean="0"/>
              <a:t>24/04/2026</a:t>
            </a:fld>
            <a:endParaRPr lang="it-IT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-IT" dirty="0"/>
              <a:t>|  </a:t>
            </a:r>
            <a:r>
              <a:rPr lang="it-IT" dirty="0" err="1"/>
              <a:t>Optionale</a:t>
            </a:r>
            <a:r>
              <a:rPr lang="it-IT" dirty="0"/>
              <a:t> </a:t>
            </a:r>
            <a:r>
              <a:rPr lang="it-IT" dirty="0" err="1"/>
              <a:t>Zusatzinformationen</a:t>
            </a:r>
            <a:endParaRPr lang="it-IT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 err="1"/>
              <a:t>Titelmasterformat</a:t>
            </a:r>
            <a:r>
              <a:rPr lang="it-IT" dirty="0"/>
              <a:t> </a:t>
            </a:r>
            <a:r>
              <a:rPr lang="it-IT" dirty="0" err="1"/>
              <a:t>durch</a:t>
            </a:r>
            <a:r>
              <a:rPr lang="it-IT" dirty="0"/>
              <a:t> </a:t>
            </a:r>
            <a:r>
              <a:rPr lang="it-IT" dirty="0" err="1"/>
              <a:t>Klicken</a:t>
            </a:r>
            <a:r>
              <a:rPr lang="it-IT" dirty="0"/>
              <a:t> </a:t>
            </a:r>
            <a:r>
              <a:rPr lang="it-IT" dirty="0" err="1"/>
              <a:t>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80501218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89728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085053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43919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697" y="1965328"/>
            <a:ext cx="1175232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697" y="3994153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469771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7" y="1965328"/>
            <a:ext cx="1175232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697" y="3994153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233958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504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02969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69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3280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697" y="3994153"/>
            <a:ext cx="1175232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933630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69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049" y="1965328"/>
            <a:ext cx="5799970" cy="1876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69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5049" y="3994153"/>
            <a:ext cx="5799970" cy="18780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341906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957106"/>
      </p:ext>
    </p:extLst>
  </p:cSld>
  <p:clrMapOvr>
    <a:masterClrMapping/>
  </p:clrMapOvr>
  <p:transition spd="med">
    <p:wipe dir="r"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1_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17426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0551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101684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1_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933817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1_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848643" y="6659665"/>
            <a:ext cx="467939" cy="151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4092" y="6659665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651094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1_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269182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1_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27123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1_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23830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1_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209310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1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66988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</p:spTree>
    <p:extLst>
      <p:ext uri="{BB962C8B-B14F-4D97-AF65-F5344CB8AC3E}">
        <p14:creationId xmlns:p14="http://schemas.microsoft.com/office/powerpoint/2010/main" val="212811742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1481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1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AT" err="1">
                <a:solidFill>
                  <a:srgbClr val="000000"/>
                </a:solidFill>
              </a:rPr>
              <a:t>December</a:t>
            </a:r>
            <a:r>
              <a:rPr lang="de-AT">
                <a:solidFill>
                  <a:srgbClr val="000000"/>
                </a:solidFill>
              </a:rPr>
              <a:t> 5/6, 2019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239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1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561569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1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82232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697" y="431803"/>
            <a:ext cx="11752320" cy="54403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011693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224778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1_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699" y="1965325"/>
            <a:ext cx="5799970" cy="3906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049" y="1965325"/>
            <a:ext cx="5799970" cy="390683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2613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916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582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4815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4/24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  <p:pic>
        <p:nvPicPr>
          <p:cNvPr id="13" name="Grafik 12" descr="Ein Bild, das Himmel, Tag enthält.&#10;&#10;Automatisch generierte Beschreibung">
            <a:extLst>
              <a:ext uri="{FF2B5EF4-FFF2-40B4-BE49-F238E27FC236}">
                <a16:creationId xmlns:a16="http://schemas.microsoft.com/office/drawing/2014/main" id="{429CF7D1-9770-B153-FE43-4746F3D2D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0413" cy="6995160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50AD495-8BF0-E37C-89EC-15A5603D65AE}"/>
              </a:ext>
            </a:extLst>
          </p:cNvPr>
          <p:cNvGrpSpPr/>
          <p:nvPr userDrawn="1"/>
        </p:nvGrpSpPr>
        <p:grpSpPr>
          <a:xfrm>
            <a:off x="8983777" y="571900"/>
            <a:ext cx="16199999" cy="1080000"/>
            <a:chOff x="6137407" y="3368287"/>
            <a:chExt cx="16199999" cy="1080000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62AC897-123C-7467-8D74-FD27C7915708}"/>
                </a:ext>
              </a:extLst>
            </p:cNvPr>
            <p:cNvGrpSpPr/>
            <p:nvPr/>
          </p:nvGrpSpPr>
          <p:grpSpPr>
            <a:xfrm>
              <a:off x="6137407" y="3368287"/>
              <a:ext cx="16199999" cy="1080000"/>
              <a:chOff x="-6603521" y="864000"/>
              <a:chExt cx="16199999" cy="108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B40CFAF-A723-B84A-638C-7383D019C36A}"/>
                  </a:ext>
                </a:extLst>
              </p:cNvPr>
              <p:cNvSpPr/>
              <p:nvPr userDrawn="1"/>
            </p:nvSpPr>
            <p:spPr>
              <a:xfrm>
                <a:off x="-6603521" y="864000"/>
                <a:ext cx="16199999" cy="10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CD76ACC0-3BBB-4511-F6F9-1725F120FE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6337644" y="1137683"/>
                <a:ext cx="1619425" cy="586722"/>
              </a:xfrm>
              <a:prstGeom prst="rect">
                <a:avLst/>
              </a:prstGeom>
            </p:spPr>
          </p:pic>
        </p:grp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BE42BD1-D1C4-FF72-E02A-2F671E7D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92686F4D-4BA2-9C02-23FF-E508ADE60EEF}"/>
              </a:ext>
            </a:extLst>
          </p:cNvPr>
          <p:cNvSpPr txBox="1">
            <a:spLocks/>
          </p:cNvSpPr>
          <p:nvPr userDrawn="1"/>
        </p:nvSpPr>
        <p:spPr>
          <a:xfrm>
            <a:off x="233109" y="1552726"/>
            <a:ext cx="2962036" cy="92442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750" b="0" dirty="0">
                <a:solidFill>
                  <a:schemeClr val="bg1"/>
                </a:solidFill>
              </a:rPr>
              <a:t>The new innovation to control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piercing and sucking pests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from the start.</a:t>
            </a:r>
            <a:endParaRPr lang="de-DE" sz="1750" b="0" dirty="0">
              <a:solidFill>
                <a:schemeClr val="bg1"/>
              </a:solidFill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7E6D40B-5123-714E-9809-409B7DBBE271}"/>
              </a:ext>
            </a:extLst>
          </p:cNvPr>
          <p:cNvSpPr txBox="1">
            <a:spLocks/>
          </p:cNvSpPr>
          <p:nvPr userDrawn="1"/>
        </p:nvSpPr>
        <p:spPr>
          <a:xfrm>
            <a:off x="4012407" y="3182897"/>
            <a:ext cx="2082007" cy="5296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400" dirty="0"/>
              <a:t>Turn the power 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of Axalion</a:t>
            </a:r>
            <a:r>
              <a:rPr lang="en-US" sz="1400" baseline="30000" dirty="0"/>
              <a:t>®</a:t>
            </a:r>
            <a:r>
              <a:rPr lang="en-US" sz="1400" dirty="0"/>
              <a:t> Active ON</a:t>
            </a:r>
            <a:endParaRPr lang="de-DE" sz="1400" b="0" dirty="0"/>
          </a:p>
        </p:txBody>
      </p:sp>
      <p:pic>
        <p:nvPicPr>
          <p:cNvPr id="24" name="Grafik 9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4D7A563-5DAA-AFAB-0F61-D1BC1C9AFE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639" y="702644"/>
            <a:ext cx="3548691" cy="70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68340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5D5BE948-2E5F-4EA0-AFA0-EC84932570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89967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47" imgH="346" progId="TCLayout.ActiveDocument.1">
                  <p:embed/>
                </p:oleObj>
              </mc:Choice>
              <mc:Fallback>
                <p:oleObj name="Diapositiva think-cell" r:id="rId3" imgW="347" imgH="34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5D5BE948-2E5F-4EA0-AFA0-EC84932570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68005272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8C7A13A-53DF-4C82-A9D2-23D0AB47A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81097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530" imgH="531" progId="TCLayout.ActiveDocument.1">
                  <p:embed/>
                </p:oleObj>
              </mc:Choice>
              <mc:Fallback>
                <p:oleObj name="Diapositiva de think-cell" r:id="rId3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8C7A13A-53DF-4C82-A9D2-23D0AB47A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2" y="1964567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045955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5"/>
          <p:cNvPicPr preferRelativeResize="0"/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56041" y="-2660924"/>
            <a:ext cx="6878333" cy="1217984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959875" y="593367"/>
            <a:ext cx="10270663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ubTitle" idx="1"/>
          </p:nvPr>
        </p:nvSpPr>
        <p:spPr>
          <a:xfrm>
            <a:off x="6578337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ubTitle" idx="2"/>
          </p:nvPr>
        </p:nvSpPr>
        <p:spPr>
          <a:xfrm>
            <a:off x="2163723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ubTitle" idx="3"/>
          </p:nvPr>
        </p:nvSpPr>
        <p:spPr>
          <a:xfrm>
            <a:off x="2163723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4"/>
          </p:nvPr>
        </p:nvSpPr>
        <p:spPr>
          <a:xfrm>
            <a:off x="6578339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0604315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313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589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098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4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  <p:pic>
        <p:nvPicPr>
          <p:cNvPr id="13" name="Grafik 12" descr="Ein Bild, das Himmel, Tag enthält.&#10;&#10;Automatisch generierte Beschreibung">
            <a:extLst>
              <a:ext uri="{FF2B5EF4-FFF2-40B4-BE49-F238E27FC236}">
                <a16:creationId xmlns:a16="http://schemas.microsoft.com/office/drawing/2014/main" id="{429CF7D1-9770-B153-FE43-4746F3D2D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0413" cy="6995160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50AD495-8BF0-E37C-89EC-15A5603D65AE}"/>
              </a:ext>
            </a:extLst>
          </p:cNvPr>
          <p:cNvGrpSpPr/>
          <p:nvPr userDrawn="1"/>
        </p:nvGrpSpPr>
        <p:grpSpPr>
          <a:xfrm>
            <a:off x="8983777" y="571900"/>
            <a:ext cx="16199999" cy="1080000"/>
            <a:chOff x="6137407" y="3368287"/>
            <a:chExt cx="16199999" cy="1080000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62AC897-123C-7467-8D74-FD27C7915708}"/>
                </a:ext>
              </a:extLst>
            </p:cNvPr>
            <p:cNvGrpSpPr/>
            <p:nvPr/>
          </p:nvGrpSpPr>
          <p:grpSpPr>
            <a:xfrm>
              <a:off x="6137407" y="3368287"/>
              <a:ext cx="16199999" cy="1080000"/>
              <a:chOff x="-6603521" y="864000"/>
              <a:chExt cx="16199999" cy="108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B40CFAF-A723-B84A-638C-7383D019C36A}"/>
                  </a:ext>
                </a:extLst>
              </p:cNvPr>
              <p:cNvSpPr/>
              <p:nvPr userDrawn="1"/>
            </p:nvSpPr>
            <p:spPr>
              <a:xfrm>
                <a:off x="-6603521" y="864000"/>
                <a:ext cx="16199999" cy="10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CD76ACC0-3BBB-4511-F6F9-1725F120FE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6337644" y="1137683"/>
                <a:ext cx="1619425" cy="586722"/>
              </a:xfrm>
              <a:prstGeom prst="rect">
                <a:avLst/>
              </a:prstGeom>
            </p:spPr>
          </p:pic>
        </p:grp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BE42BD1-D1C4-FF72-E02A-2F671E7D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92686F4D-4BA2-9C02-23FF-E508ADE60EEF}"/>
              </a:ext>
            </a:extLst>
          </p:cNvPr>
          <p:cNvSpPr txBox="1">
            <a:spLocks/>
          </p:cNvSpPr>
          <p:nvPr userDrawn="1"/>
        </p:nvSpPr>
        <p:spPr>
          <a:xfrm>
            <a:off x="233109" y="1552726"/>
            <a:ext cx="2962036" cy="92442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750" b="0" dirty="0">
                <a:solidFill>
                  <a:schemeClr val="bg1"/>
                </a:solidFill>
              </a:rPr>
              <a:t>The new innovation to control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piercing and sucking pests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from the start.</a:t>
            </a:r>
            <a:endParaRPr lang="de-DE" sz="1750" b="0" dirty="0">
              <a:solidFill>
                <a:schemeClr val="bg1"/>
              </a:solidFill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7E6D40B-5123-714E-9809-409B7DBBE271}"/>
              </a:ext>
            </a:extLst>
          </p:cNvPr>
          <p:cNvSpPr txBox="1">
            <a:spLocks/>
          </p:cNvSpPr>
          <p:nvPr userDrawn="1"/>
        </p:nvSpPr>
        <p:spPr>
          <a:xfrm>
            <a:off x="4012407" y="3182897"/>
            <a:ext cx="2082007" cy="5296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400" dirty="0"/>
              <a:t>Turn the power 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of Axalion</a:t>
            </a:r>
            <a:r>
              <a:rPr lang="en-US" sz="1400" baseline="30000" dirty="0"/>
              <a:t>®</a:t>
            </a:r>
            <a:r>
              <a:rPr lang="en-US" sz="1400" dirty="0"/>
              <a:t> Active ON</a:t>
            </a:r>
            <a:endParaRPr lang="de-DE" sz="1400" b="0" dirty="0"/>
          </a:p>
        </p:txBody>
      </p:sp>
      <p:pic>
        <p:nvPicPr>
          <p:cNvPr id="24" name="Grafik 9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4D7A563-5DAA-AFAB-0F61-D1BC1C9AFE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639" y="702644"/>
            <a:ext cx="3548691" cy="70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42333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5D5BE948-2E5F-4EA0-AFA0-EC84932570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89967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47" imgH="346" progId="TCLayout.ActiveDocument.1">
                  <p:embed/>
                </p:oleObj>
              </mc:Choice>
              <mc:Fallback>
                <p:oleObj name="Diapositiva think-cell" r:id="rId3" imgW="347" imgH="34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5D5BE948-2E5F-4EA0-AFA0-EC84932570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03304997"/>
      </p:ext>
    </p:extLst>
  </p:cSld>
  <p:clrMapOvr>
    <a:masterClrMapping/>
  </p:clrMapOvr>
  <p:hf hdr="0" ftr="0" dt="0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1_Title and two 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5"/>
          <p:cNvPicPr preferRelativeResize="0"/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56041" y="-2660924"/>
            <a:ext cx="6878333" cy="1217984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959875" y="593367"/>
            <a:ext cx="10270663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ubTitle" idx="1"/>
          </p:nvPr>
        </p:nvSpPr>
        <p:spPr>
          <a:xfrm>
            <a:off x="6578337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ubTitle" idx="2"/>
          </p:nvPr>
        </p:nvSpPr>
        <p:spPr>
          <a:xfrm>
            <a:off x="2163723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ubTitle" idx="3"/>
          </p:nvPr>
        </p:nvSpPr>
        <p:spPr>
          <a:xfrm>
            <a:off x="2163723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4"/>
          </p:nvPr>
        </p:nvSpPr>
        <p:spPr>
          <a:xfrm>
            <a:off x="6578339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931741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38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517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629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7561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43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260731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485175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4/24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  <p:pic>
        <p:nvPicPr>
          <p:cNvPr id="13" name="Grafik 12" descr="Ein Bild, das Himmel, Tag enthält.&#10;&#10;Automatisch generierte Beschreibung">
            <a:extLst>
              <a:ext uri="{FF2B5EF4-FFF2-40B4-BE49-F238E27FC236}">
                <a16:creationId xmlns:a16="http://schemas.microsoft.com/office/drawing/2014/main" id="{429CF7D1-9770-B153-FE43-4746F3D2D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0413" cy="6995160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50AD495-8BF0-E37C-89EC-15A5603D65AE}"/>
              </a:ext>
            </a:extLst>
          </p:cNvPr>
          <p:cNvGrpSpPr/>
          <p:nvPr userDrawn="1"/>
        </p:nvGrpSpPr>
        <p:grpSpPr>
          <a:xfrm>
            <a:off x="8983777" y="571900"/>
            <a:ext cx="16199999" cy="1080000"/>
            <a:chOff x="6137407" y="3368287"/>
            <a:chExt cx="16199999" cy="1080000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62AC897-123C-7467-8D74-FD27C7915708}"/>
                </a:ext>
              </a:extLst>
            </p:cNvPr>
            <p:cNvGrpSpPr/>
            <p:nvPr/>
          </p:nvGrpSpPr>
          <p:grpSpPr>
            <a:xfrm>
              <a:off x="6137407" y="3368287"/>
              <a:ext cx="16199999" cy="1080000"/>
              <a:chOff x="-6603521" y="864000"/>
              <a:chExt cx="16199999" cy="108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B40CFAF-A723-B84A-638C-7383D019C36A}"/>
                  </a:ext>
                </a:extLst>
              </p:cNvPr>
              <p:cNvSpPr/>
              <p:nvPr userDrawn="1"/>
            </p:nvSpPr>
            <p:spPr>
              <a:xfrm>
                <a:off x="-6603521" y="864000"/>
                <a:ext cx="16199999" cy="10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CD76ACC0-3BBB-4511-F6F9-1725F120FE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6337644" y="1137683"/>
                <a:ext cx="1619425" cy="586722"/>
              </a:xfrm>
              <a:prstGeom prst="rect">
                <a:avLst/>
              </a:prstGeom>
            </p:spPr>
          </p:pic>
        </p:grp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BE42BD1-D1C4-FF72-E02A-2F671E7D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92686F4D-4BA2-9C02-23FF-E508ADE60EEF}"/>
              </a:ext>
            </a:extLst>
          </p:cNvPr>
          <p:cNvSpPr txBox="1">
            <a:spLocks/>
          </p:cNvSpPr>
          <p:nvPr userDrawn="1"/>
        </p:nvSpPr>
        <p:spPr>
          <a:xfrm>
            <a:off x="233109" y="1552726"/>
            <a:ext cx="2962036" cy="92442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750" b="0" dirty="0">
                <a:solidFill>
                  <a:schemeClr val="bg1"/>
                </a:solidFill>
              </a:rPr>
              <a:t>The new innovation to control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piercing and sucking pests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from the start.</a:t>
            </a:r>
            <a:endParaRPr lang="de-DE" sz="1750" b="0" dirty="0">
              <a:solidFill>
                <a:schemeClr val="bg1"/>
              </a:solidFill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7E6D40B-5123-714E-9809-409B7DBBE271}"/>
              </a:ext>
            </a:extLst>
          </p:cNvPr>
          <p:cNvSpPr txBox="1">
            <a:spLocks/>
          </p:cNvSpPr>
          <p:nvPr userDrawn="1"/>
        </p:nvSpPr>
        <p:spPr>
          <a:xfrm>
            <a:off x="4012407" y="3182897"/>
            <a:ext cx="2082007" cy="5296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400" dirty="0"/>
              <a:t>Turn the power 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of Axalion</a:t>
            </a:r>
            <a:r>
              <a:rPr lang="en-US" sz="1400" baseline="30000" dirty="0"/>
              <a:t>®</a:t>
            </a:r>
            <a:r>
              <a:rPr lang="en-US" sz="1400" dirty="0"/>
              <a:t> Active ON</a:t>
            </a:r>
            <a:endParaRPr lang="de-DE" sz="1400" b="0" dirty="0"/>
          </a:p>
        </p:txBody>
      </p:sp>
      <p:pic>
        <p:nvPicPr>
          <p:cNvPr id="24" name="Grafik 9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4D7A563-5DAA-AFAB-0F61-D1BC1C9AFE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639" y="702644"/>
            <a:ext cx="3548691" cy="70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10680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5D5BE948-2E5F-4EA0-AFA0-EC84932570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89967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47" imgH="346" progId="TCLayout.ActiveDocument.1">
                  <p:embed/>
                </p:oleObj>
              </mc:Choice>
              <mc:Fallback>
                <p:oleObj name="Diapositiva think-cell" r:id="rId3" imgW="347" imgH="34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5D5BE948-2E5F-4EA0-AFA0-EC84932570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2371759"/>
      </p:ext>
    </p:extLst>
  </p:cSld>
  <p:clrMapOvr>
    <a:masterClrMapping/>
  </p:clrMapOvr>
  <p:hf hdr="0" ftr="0" dt="0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1_Title and two 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5"/>
          <p:cNvPicPr preferRelativeResize="0"/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56041" y="-2660924"/>
            <a:ext cx="6878333" cy="1217984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959875" y="593367"/>
            <a:ext cx="10270663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ubTitle" idx="1"/>
          </p:nvPr>
        </p:nvSpPr>
        <p:spPr>
          <a:xfrm>
            <a:off x="6578337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ubTitle" idx="2"/>
          </p:nvPr>
        </p:nvSpPr>
        <p:spPr>
          <a:xfrm>
            <a:off x="2163723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ubTitle" idx="3"/>
          </p:nvPr>
        </p:nvSpPr>
        <p:spPr>
          <a:xfrm>
            <a:off x="2163723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4"/>
          </p:nvPr>
        </p:nvSpPr>
        <p:spPr>
          <a:xfrm>
            <a:off x="6578339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5305624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440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235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09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0762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66195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4/24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  <p:pic>
        <p:nvPicPr>
          <p:cNvPr id="13" name="Grafik 12" descr="Ein Bild, das Himmel, Tag enthält.&#10;&#10;Automatisch generierte Beschreibung">
            <a:extLst>
              <a:ext uri="{FF2B5EF4-FFF2-40B4-BE49-F238E27FC236}">
                <a16:creationId xmlns:a16="http://schemas.microsoft.com/office/drawing/2014/main" id="{429CF7D1-9770-B153-FE43-4746F3D2D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0413" cy="6995160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50AD495-8BF0-E37C-89EC-15A5603D65AE}"/>
              </a:ext>
            </a:extLst>
          </p:cNvPr>
          <p:cNvGrpSpPr/>
          <p:nvPr userDrawn="1"/>
        </p:nvGrpSpPr>
        <p:grpSpPr>
          <a:xfrm>
            <a:off x="8983777" y="571900"/>
            <a:ext cx="16199999" cy="1080000"/>
            <a:chOff x="6137407" y="3368287"/>
            <a:chExt cx="16199999" cy="1080000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62AC897-123C-7467-8D74-FD27C7915708}"/>
                </a:ext>
              </a:extLst>
            </p:cNvPr>
            <p:cNvGrpSpPr/>
            <p:nvPr/>
          </p:nvGrpSpPr>
          <p:grpSpPr>
            <a:xfrm>
              <a:off x="6137407" y="3368287"/>
              <a:ext cx="16199999" cy="1080000"/>
              <a:chOff x="-6603521" y="864000"/>
              <a:chExt cx="16199999" cy="108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B40CFAF-A723-B84A-638C-7383D019C36A}"/>
                  </a:ext>
                </a:extLst>
              </p:cNvPr>
              <p:cNvSpPr/>
              <p:nvPr userDrawn="1"/>
            </p:nvSpPr>
            <p:spPr>
              <a:xfrm>
                <a:off x="-6603521" y="864000"/>
                <a:ext cx="16199999" cy="10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CD76ACC0-3BBB-4511-F6F9-1725F120FE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6337644" y="1137683"/>
                <a:ext cx="1619425" cy="586722"/>
              </a:xfrm>
              <a:prstGeom prst="rect">
                <a:avLst/>
              </a:prstGeom>
            </p:spPr>
          </p:pic>
        </p:grp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BE42BD1-D1C4-FF72-E02A-2F671E7D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92686F4D-4BA2-9C02-23FF-E508ADE60EEF}"/>
              </a:ext>
            </a:extLst>
          </p:cNvPr>
          <p:cNvSpPr txBox="1">
            <a:spLocks/>
          </p:cNvSpPr>
          <p:nvPr userDrawn="1"/>
        </p:nvSpPr>
        <p:spPr>
          <a:xfrm>
            <a:off x="233109" y="1552726"/>
            <a:ext cx="2962036" cy="92442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750" b="0" dirty="0">
                <a:solidFill>
                  <a:schemeClr val="bg1"/>
                </a:solidFill>
              </a:rPr>
              <a:t>The new innovation to control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piercing and sucking pests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from the start.</a:t>
            </a:r>
            <a:endParaRPr lang="de-DE" sz="1750" b="0" dirty="0">
              <a:solidFill>
                <a:schemeClr val="bg1"/>
              </a:solidFill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7E6D40B-5123-714E-9809-409B7DBBE271}"/>
              </a:ext>
            </a:extLst>
          </p:cNvPr>
          <p:cNvSpPr txBox="1">
            <a:spLocks/>
          </p:cNvSpPr>
          <p:nvPr userDrawn="1"/>
        </p:nvSpPr>
        <p:spPr>
          <a:xfrm>
            <a:off x="4012407" y="3182897"/>
            <a:ext cx="2082007" cy="5296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400" dirty="0"/>
              <a:t>Turn the power 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of Axalion</a:t>
            </a:r>
            <a:r>
              <a:rPr lang="en-US" sz="1400" baseline="30000" dirty="0"/>
              <a:t>®</a:t>
            </a:r>
            <a:r>
              <a:rPr lang="en-US" sz="1400" dirty="0"/>
              <a:t> Active ON</a:t>
            </a:r>
            <a:endParaRPr lang="de-DE" sz="1400" b="0" dirty="0"/>
          </a:p>
        </p:txBody>
      </p:sp>
      <p:pic>
        <p:nvPicPr>
          <p:cNvPr id="24" name="Grafik 9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4D7A563-5DAA-AFAB-0F61-D1BC1C9AFE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639" y="702644"/>
            <a:ext cx="3548691" cy="70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79903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5D5BE948-2E5F-4EA0-AFA0-EC84932570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89967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47" imgH="346" progId="TCLayout.ActiveDocument.1">
                  <p:embed/>
                </p:oleObj>
              </mc:Choice>
              <mc:Fallback>
                <p:oleObj name="Diapositiva think-cell" r:id="rId3" imgW="347" imgH="34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5D5BE948-2E5F-4EA0-AFA0-EC84932570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1814010"/>
      </p:ext>
    </p:extLst>
  </p:cSld>
  <p:clrMapOvr>
    <a:masterClrMapping/>
  </p:clrMapOvr>
  <p:hf hdr="0" ftr="0" dt="0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1_Title and two 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5"/>
          <p:cNvPicPr preferRelativeResize="0"/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56041" y="-2660924"/>
            <a:ext cx="6878333" cy="1217984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959875" y="593367"/>
            <a:ext cx="10270663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ubTitle" idx="1"/>
          </p:nvPr>
        </p:nvSpPr>
        <p:spPr>
          <a:xfrm>
            <a:off x="6578337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ubTitle" idx="2"/>
          </p:nvPr>
        </p:nvSpPr>
        <p:spPr>
          <a:xfrm>
            <a:off x="2163723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ubTitle" idx="3"/>
          </p:nvPr>
        </p:nvSpPr>
        <p:spPr>
          <a:xfrm>
            <a:off x="2163723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4"/>
          </p:nvPr>
        </p:nvSpPr>
        <p:spPr>
          <a:xfrm>
            <a:off x="6578339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2489811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897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255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88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5340566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224967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4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  <p:pic>
        <p:nvPicPr>
          <p:cNvPr id="13" name="Grafik 12" descr="Ein Bild, das Himmel, Tag enthält.&#10;&#10;Automatisch generierte Beschreibung">
            <a:extLst>
              <a:ext uri="{FF2B5EF4-FFF2-40B4-BE49-F238E27FC236}">
                <a16:creationId xmlns:a16="http://schemas.microsoft.com/office/drawing/2014/main" id="{429CF7D1-9770-B153-FE43-4746F3D2D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0413" cy="6995160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50AD495-8BF0-E37C-89EC-15A5603D65AE}"/>
              </a:ext>
            </a:extLst>
          </p:cNvPr>
          <p:cNvGrpSpPr/>
          <p:nvPr userDrawn="1"/>
        </p:nvGrpSpPr>
        <p:grpSpPr>
          <a:xfrm>
            <a:off x="8983777" y="571900"/>
            <a:ext cx="16199999" cy="1080000"/>
            <a:chOff x="6137407" y="3368287"/>
            <a:chExt cx="16199999" cy="1080000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62AC897-123C-7467-8D74-FD27C7915708}"/>
                </a:ext>
              </a:extLst>
            </p:cNvPr>
            <p:cNvGrpSpPr/>
            <p:nvPr/>
          </p:nvGrpSpPr>
          <p:grpSpPr>
            <a:xfrm>
              <a:off x="6137407" y="3368287"/>
              <a:ext cx="16199999" cy="1080000"/>
              <a:chOff x="-6603521" y="864000"/>
              <a:chExt cx="16199999" cy="108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B40CFAF-A723-B84A-638C-7383D019C36A}"/>
                  </a:ext>
                </a:extLst>
              </p:cNvPr>
              <p:cNvSpPr/>
              <p:nvPr userDrawn="1"/>
            </p:nvSpPr>
            <p:spPr>
              <a:xfrm>
                <a:off x="-6603521" y="864000"/>
                <a:ext cx="16199999" cy="10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CD76ACC0-3BBB-4511-F6F9-1725F120FE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6337644" y="1137683"/>
                <a:ext cx="1619425" cy="586722"/>
              </a:xfrm>
              <a:prstGeom prst="rect">
                <a:avLst/>
              </a:prstGeom>
            </p:spPr>
          </p:pic>
        </p:grp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BE42BD1-D1C4-FF72-E02A-2F671E7D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92686F4D-4BA2-9C02-23FF-E508ADE60EEF}"/>
              </a:ext>
            </a:extLst>
          </p:cNvPr>
          <p:cNvSpPr txBox="1">
            <a:spLocks/>
          </p:cNvSpPr>
          <p:nvPr userDrawn="1"/>
        </p:nvSpPr>
        <p:spPr>
          <a:xfrm>
            <a:off x="233109" y="1552726"/>
            <a:ext cx="2962036" cy="92442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750" b="0" dirty="0">
                <a:solidFill>
                  <a:schemeClr val="bg1"/>
                </a:solidFill>
              </a:rPr>
              <a:t>The new innovation to control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piercing and sucking pests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from the start.</a:t>
            </a:r>
            <a:endParaRPr lang="de-DE" sz="1750" b="0" dirty="0">
              <a:solidFill>
                <a:schemeClr val="bg1"/>
              </a:solidFill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7E6D40B-5123-714E-9809-409B7DBBE271}"/>
              </a:ext>
            </a:extLst>
          </p:cNvPr>
          <p:cNvSpPr txBox="1">
            <a:spLocks/>
          </p:cNvSpPr>
          <p:nvPr userDrawn="1"/>
        </p:nvSpPr>
        <p:spPr>
          <a:xfrm>
            <a:off x="4012407" y="3182897"/>
            <a:ext cx="2082007" cy="5296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400" dirty="0"/>
              <a:t>Turn the power 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of Axalion</a:t>
            </a:r>
            <a:r>
              <a:rPr lang="en-US" sz="1400" baseline="30000" dirty="0"/>
              <a:t>®</a:t>
            </a:r>
            <a:r>
              <a:rPr lang="en-US" sz="1400" dirty="0"/>
              <a:t> Active ON</a:t>
            </a:r>
            <a:endParaRPr lang="de-DE" sz="1400" b="0" dirty="0"/>
          </a:p>
        </p:txBody>
      </p:sp>
      <p:pic>
        <p:nvPicPr>
          <p:cNvPr id="24" name="Grafik 9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4D7A563-5DAA-AFAB-0F61-D1BC1C9AFE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639" y="702644"/>
            <a:ext cx="3548691" cy="70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37541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5D5BE948-2E5F-4EA0-AFA0-EC84932570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89967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47" imgH="346" progId="TCLayout.ActiveDocument.1">
                  <p:embed/>
                </p:oleObj>
              </mc:Choice>
              <mc:Fallback>
                <p:oleObj name="Diapositiva think-cell" r:id="rId3" imgW="347" imgH="34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5D5BE948-2E5F-4EA0-AFA0-EC84932570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22076023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3399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1_Title and two 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5"/>
          <p:cNvPicPr preferRelativeResize="0"/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56041" y="-2660924"/>
            <a:ext cx="6878333" cy="1217984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959875" y="593367"/>
            <a:ext cx="10270663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ubTitle" idx="1"/>
          </p:nvPr>
        </p:nvSpPr>
        <p:spPr>
          <a:xfrm>
            <a:off x="6578337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ubTitle" idx="2"/>
          </p:nvPr>
        </p:nvSpPr>
        <p:spPr>
          <a:xfrm>
            <a:off x="2163723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ubTitle" idx="3"/>
          </p:nvPr>
        </p:nvSpPr>
        <p:spPr>
          <a:xfrm>
            <a:off x="2163723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4"/>
          </p:nvPr>
        </p:nvSpPr>
        <p:spPr>
          <a:xfrm>
            <a:off x="6578339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435855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712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1800" dirty="0">
              <a:solidFill>
                <a:srgbClr val="C50022"/>
              </a:solidFill>
            </a:endParaRP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1" y="1964565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61086892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7941363"/>
      </p:ext>
    </p:extLst>
  </p:cSld>
  <p:clrMapOvr>
    <a:masterClrMapping/>
  </p:clrMapOvr>
  <p:transition spd="med">
    <p:wipe dir="r"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705160"/>
      </p:ext>
    </p:extLst>
  </p:cSld>
  <p:clrMapOvr>
    <a:masterClrMapping/>
  </p:clrMapOvr>
  <p:transition spd="med">
    <p:wipe dir="r"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816582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12">
            <a:extLst>
              <a:ext uri="{FF2B5EF4-FFF2-40B4-BE49-F238E27FC236}">
                <a16:creationId xmlns:a16="http://schemas.microsoft.com/office/drawing/2014/main" id="{CCAB4B02-EC25-4A8A-BCCC-78FDBA17A6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0413" cy="7019109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1BD7B15-A2D9-47B0-8993-C9992C244CBC}"/>
              </a:ext>
            </a:extLst>
          </p:cNvPr>
          <p:cNvGrpSpPr/>
          <p:nvPr userDrawn="1"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10" name="Rechteck 9"/>
            <p:cNvSpPr>
              <a:spLocks noChangeAspect="1"/>
            </p:cNvSpPr>
            <p:nvPr userDrawn="1"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9F54C14-632A-4F5D-AF18-1DA714CBB4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 userDrawn="1"/>
        </p:nvSpPr>
        <p:spPr>
          <a:xfrm>
            <a:off x="0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42" name="Textplatzhalter 4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2000" y="4968002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1BB3A81-828C-46B6-8B45-0904C3B77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785AFB7-C388-4E45-BD2D-3D884C32812F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1800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080CAAF3-72A8-4B9F-938F-054C585E4F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0AFC4AB5-DC9C-49A7-96AA-E02FE7953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18A080BE-65AF-4570-9C09-28CACD107D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158773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1BD7B15-A2D9-47B0-8993-C9992C244CBC}"/>
              </a:ext>
            </a:extLst>
          </p:cNvPr>
          <p:cNvGrpSpPr/>
          <p:nvPr userDrawn="1"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10" name="Rechteck 9"/>
            <p:cNvSpPr>
              <a:spLocks noChangeAspect="1"/>
            </p:cNvSpPr>
            <p:nvPr userDrawn="1"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9F54C14-632A-4F5D-AF18-1DA714CBB4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 userDrawn="1"/>
        </p:nvSpPr>
        <p:spPr>
          <a:xfrm>
            <a:off x="0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42" name="Textplatzhalter 4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2000" y="4968002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1BB3A81-828C-46B6-8B45-0904C3B77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785AFB7-C388-4E45-BD2D-3D884C32812F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1800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080CAAF3-72A8-4B9F-938F-054C585E4F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0AFC4AB5-DC9C-49A7-96AA-E02FE7953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18A080BE-65AF-4570-9C09-28CACD107D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171150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FD38EEB5-239A-4CE7-8483-0A15DAFE0151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it-IT"/>
              <a:t>23/05/2016</a:t>
            </a:r>
          </a:p>
        </p:txBody>
      </p:sp>
    </p:spTree>
    <p:extLst>
      <p:ext uri="{BB962C8B-B14F-4D97-AF65-F5344CB8AC3E}">
        <p14:creationId xmlns:p14="http://schemas.microsoft.com/office/powerpoint/2010/main" val="2440804304"/>
      </p:ext>
    </p:extLst>
  </p:cSld>
  <p:clrMapOvr>
    <a:masterClrMapping/>
  </p:clrMapOvr>
  <p:hf hdr="0" ftr="0"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testo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FD38EEB5-239A-4CE7-8483-0A15DAFE0151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it-IT"/>
              <a:t>23/05/2016</a:t>
            </a:r>
          </a:p>
        </p:txBody>
      </p:sp>
    </p:spTree>
    <p:extLst>
      <p:ext uri="{BB962C8B-B14F-4D97-AF65-F5344CB8AC3E}">
        <p14:creationId xmlns:p14="http://schemas.microsoft.com/office/powerpoint/2010/main" val="3033265293"/>
      </p:ext>
    </p:extLst>
  </p:cSld>
  <p:clrMapOvr>
    <a:masterClrMapping/>
  </p:clrMapOvr>
  <p:hf hdr="0" ft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3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AT" err="1">
                <a:solidFill>
                  <a:srgbClr val="000000"/>
                </a:solidFill>
              </a:rPr>
              <a:t>December</a:t>
            </a:r>
            <a:r>
              <a:rPr lang="de-AT">
                <a:solidFill>
                  <a:srgbClr val="000000"/>
                </a:solidFill>
              </a:rPr>
              <a:t> 5/6, 2019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03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99989" y="641350"/>
            <a:ext cx="9502596" cy="852488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287830" y="1871663"/>
            <a:ext cx="5705790" cy="4608512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6794" y="1871663"/>
            <a:ext cx="5705790" cy="4608512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itePlaz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7F99917-09B7-4F6F-99C3-C8F44227739E}" type="slidenum">
              <a:rPr lang="it-IT"/>
              <a:pPr/>
              <a:t>‹N›</a:t>
            </a:fld>
            <a:endParaRPr lang="it-IT"/>
          </a:p>
        </p:txBody>
      </p:sp>
      <p:sp>
        <p:nvSpPr>
          <p:cNvPr id="6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DatumPlaz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18/02/2012</a:t>
            </a:r>
          </a:p>
        </p:txBody>
      </p:sp>
    </p:spTree>
    <p:extLst>
      <p:ext uri="{BB962C8B-B14F-4D97-AF65-F5344CB8AC3E}">
        <p14:creationId xmlns:p14="http://schemas.microsoft.com/office/powerpoint/2010/main" val="2805038388"/>
      </p:ext>
    </p:extLst>
  </p:cSld>
  <p:clrMapOvr>
    <a:masterClrMapping/>
  </p:clrMapOvr>
  <p:hf hdr="0" ftr="0"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2EA2C71A-13C2-4A0B-984E-75A1722806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95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6" progId="TCLayout.ActiveDocument.1">
                  <p:embed/>
                </p:oleObj>
              </mc:Choice>
              <mc:Fallback>
                <p:oleObj name="Diapositiva think-cell" r:id="rId4" imgW="347" imgH="34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2EA2C71A-13C2-4A0B-984E-75A172280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D66C9560-B30D-42AA-BEA9-441AA33FCD1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it-IT" smtClean="0"/>
              <a:t>24/04/2026</a:t>
            </a:fld>
            <a:endParaRPr lang="it-IT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-IT" dirty="0"/>
              <a:t>|  </a:t>
            </a:r>
            <a:r>
              <a:rPr lang="it-IT" dirty="0" err="1"/>
              <a:t>Optionale</a:t>
            </a:r>
            <a:r>
              <a:rPr lang="it-IT" dirty="0"/>
              <a:t> </a:t>
            </a:r>
            <a:r>
              <a:rPr lang="it-IT" dirty="0" err="1"/>
              <a:t>Zusatzinformationen</a:t>
            </a:r>
            <a:endParaRPr lang="it-IT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 err="1"/>
              <a:t>Titelmasterformat</a:t>
            </a:r>
            <a:r>
              <a:rPr lang="it-IT" dirty="0"/>
              <a:t> </a:t>
            </a:r>
            <a:r>
              <a:rPr lang="it-IT" dirty="0" err="1"/>
              <a:t>durch</a:t>
            </a:r>
            <a:r>
              <a:rPr lang="it-IT" dirty="0"/>
              <a:t> </a:t>
            </a:r>
            <a:r>
              <a:rPr lang="it-IT" dirty="0" err="1"/>
              <a:t>Klicken</a:t>
            </a:r>
            <a:r>
              <a:rPr lang="it-IT" dirty="0"/>
              <a:t> </a:t>
            </a:r>
            <a:r>
              <a:rPr lang="it-IT" dirty="0" err="1"/>
              <a:t>bearbeiten</a:t>
            </a:r>
            <a:endParaRPr lang="it-IT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master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rbeiten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4991746"/>
      </p:ext>
    </p:extLst>
  </p:cSld>
  <p:clrMapOvr>
    <a:masterClrMapping/>
  </p:clrMapOvr>
  <p:hf hdr="0"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05C7D7BC-3A63-427C-9D7F-63F95FDD71B6}" type="slidenum">
              <a:rPr lang="de-DE" smtClean="0">
                <a:solidFill>
                  <a:srgbClr val="808080"/>
                </a:solidFill>
              </a:rPr>
              <a:pPr/>
              <a:t>‹N›</a:t>
            </a:fld>
            <a:endParaRPr lang="de-DE" dirty="0">
              <a:solidFill>
                <a:srgbClr val="808080"/>
              </a:solidFill>
            </a:endParaRPr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>
                <a:solidFill>
                  <a:srgbClr val="808080"/>
                </a:solidFill>
              </a:rPr>
              <a:t>| Optional</a:t>
            </a:r>
            <a:endParaRPr lang="de-DE" dirty="0">
              <a:solidFill>
                <a:srgbClr val="808080"/>
              </a:solidFill>
            </a:endParaRPr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endParaRPr lang="de-DE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52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3968A1E-5774-4FBF-B33D-33246827FA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814E2C-65A8-4B4C-A488-296B14440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Optiona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58CEEC-917F-4652-8701-CCABB57CF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000867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1800" dirty="0">
              <a:solidFill>
                <a:srgbClr val="C50022"/>
              </a:solidFill>
            </a:endParaRP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1" y="1964565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7167988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06771976"/>
      </p:ext>
    </p:extLst>
  </p:cSld>
  <p:clrMapOvr>
    <a:masterClrMapping/>
  </p:clrMapOvr>
  <p:transition spd="med">
    <p:wipe dir="r"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026926"/>
      </p:ext>
    </p:extLst>
  </p:cSld>
  <p:clrMapOvr>
    <a:masterClrMapping/>
  </p:clrMapOvr>
  <p:transition spd="med">
    <p:wipe dir="r"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5491496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1BD7B15-A2D9-47B0-8993-C9992C244CBC}"/>
              </a:ext>
            </a:extLst>
          </p:cNvPr>
          <p:cNvGrpSpPr/>
          <p:nvPr userDrawn="1"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10" name="Rechteck 9"/>
            <p:cNvSpPr>
              <a:spLocks noChangeAspect="1"/>
            </p:cNvSpPr>
            <p:nvPr userDrawn="1"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9F54C14-632A-4F5D-AF18-1DA714CBB4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 userDrawn="1"/>
        </p:nvSpPr>
        <p:spPr>
          <a:xfrm>
            <a:off x="0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42" name="Textplatzhalter 4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2000" y="4968002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1BB3A81-828C-46B6-8B45-0904C3B77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785AFB7-C388-4E45-BD2D-3D884C32812F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1800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080CAAF3-72A8-4B9F-938F-054C585E4F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0AFC4AB5-DC9C-49A7-96AA-E02FE7953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18A080BE-65AF-4570-9C09-28CACD107D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04041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>
            <a:spLocks noGrp="1"/>
          </p:cNvSpPr>
          <p:nvPr>
            <p:ph type="title"/>
          </p:nvPr>
        </p:nvSpPr>
        <p:spPr>
          <a:xfrm>
            <a:off x="281975" y="437008"/>
            <a:ext cx="11468230" cy="1143000"/>
          </a:xfrm>
        </p:spPr>
        <p:txBody>
          <a:bodyPr anchor="b"/>
          <a:lstStyle>
            <a:lvl1pPr algn="l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24028896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082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05C7D7BC-3A63-427C-9D7F-63F95FDD71B6}" type="slidenum">
              <a:rPr lang="de-DE" smtClean="0">
                <a:solidFill>
                  <a:srgbClr val="808080"/>
                </a:solidFill>
              </a:rPr>
              <a:pPr/>
              <a:t>‹N›</a:t>
            </a:fld>
            <a:endParaRPr lang="de-DE" dirty="0">
              <a:solidFill>
                <a:srgbClr val="808080"/>
              </a:solidFill>
            </a:endParaRPr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>
                <a:solidFill>
                  <a:srgbClr val="808080"/>
                </a:solidFill>
              </a:rPr>
              <a:t>| Optional</a:t>
            </a:r>
            <a:endParaRPr lang="de-DE" dirty="0">
              <a:solidFill>
                <a:srgbClr val="808080"/>
              </a:solidFill>
            </a:endParaRPr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endParaRPr lang="de-DE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51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278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err="1"/>
              <a:t>Axalion</a:t>
            </a:r>
            <a:r>
              <a:rPr lang="de-DE"/>
              <a:t> Global Messaging Workshops | November 2021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86976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Axalion Global Messaging Workshops | November 2021</a:t>
            </a:r>
            <a:endParaRPr lang="de-DE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50797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de-AT">
                <a:solidFill>
                  <a:srgbClr val="000000"/>
                </a:solidFill>
              </a:rPr>
              <a:t>December 5/6, 2019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26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C6A7B-0A61-4565-8BDE-2A0329D21D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C2DDF-E78D-4D7D-A83B-C906C45606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7CEB91-3E97-41E8-9500-4ECDCC87A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A2F05C-67B6-476B-8040-EA31BE9179B7}" type="datetimeFigureOut">
              <a:rPr lang="en-US" smtClean="0"/>
              <a:t>4/2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E9B9D6-608D-43E0-94A5-0664BBEBF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xalion Global Messaging Workshops | November 2021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8684D3-0D6F-426B-8F50-0557DE692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fld id="{2469E80B-4700-41DF-A682-2D8C78870A51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0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8C7A13A-53DF-4C82-A9D2-23D0AB47A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81097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530" imgH="531" progId="TCLayout.ActiveDocument.1">
                  <p:embed/>
                </p:oleObj>
              </mc:Choice>
              <mc:Fallback>
                <p:oleObj name="Diapositiva de think-cell" r:id="rId3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8C7A13A-53DF-4C82-A9D2-23D0AB47A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2" y="1964567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942143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792162"/>
          </a:xfrm>
        </p:spPr>
        <p:txBody>
          <a:bodyPr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6.05.2020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RIM Insecticides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DC7F3-9351-4C6A-815B-321F9EB8A18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18674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2EA2C71A-13C2-4A0B-984E-75A1722806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734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6" progId="TCLayout.ActiveDocument.1">
                  <p:embed/>
                </p:oleObj>
              </mc:Choice>
              <mc:Fallback>
                <p:oleObj name="Diapositiva think-cell" r:id="rId4" imgW="347" imgH="34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2EA2C71A-13C2-4A0B-984E-75A172280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D66C9560-B30D-42AA-BEA9-441AA33FCD1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it-IT" smtClean="0"/>
              <a:t>24/04/2026</a:t>
            </a:fld>
            <a:endParaRPr lang="it-IT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-IT"/>
              <a:t>|  Optionale Zusatzinformationen</a:t>
            </a:r>
            <a:endParaRPr lang="it-IT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 err="1"/>
              <a:t>Titelmasterformat</a:t>
            </a:r>
            <a:r>
              <a:rPr lang="it-IT" dirty="0"/>
              <a:t> </a:t>
            </a:r>
            <a:r>
              <a:rPr lang="it-IT" dirty="0" err="1"/>
              <a:t>durch</a:t>
            </a:r>
            <a:r>
              <a:rPr lang="it-IT" dirty="0"/>
              <a:t> </a:t>
            </a:r>
            <a:r>
              <a:rPr lang="it-IT" dirty="0" err="1"/>
              <a:t>Klicken</a:t>
            </a:r>
            <a:r>
              <a:rPr lang="it-IT" dirty="0"/>
              <a:t> </a:t>
            </a:r>
            <a:r>
              <a:rPr lang="it-IT" dirty="0" err="1"/>
              <a:t>bearbeiten</a:t>
            </a:r>
            <a:endParaRPr lang="it-IT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master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rbeiten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387946"/>
      </p:ext>
    </p:extLst>
  </p:cSld>
  <p:clrMapOvr>
    <a:masterClrMapping/>
  </p:clrMapOvr>
  <p:hf hdr="0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23783B6A-06FE-40BF-A4AB-15A40BC96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971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6" progId="TCLayout.ActiveDocument.1">
                  <p:embed/>
                </p:oleObj>
              </mc:Choice>
              <mc:Fallback>
                <p:oleObj name="Diapositiva think-cell" r:id="rId4" imgW="347" imgH="34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23783B6A-06FE-40BF-A4AB-15A40BC96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C5E0DA92-D54D-4C16-A1AC-07E0F65E09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it-IT" smtClean="0"/>
              <a:t>24/04/2026</a:t>
            </a:fld>
            <a:endParaRPr lang="it-IT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-IT"/>
              <a:t>|  Optionale Zusatzinformationen</a:t>
            </a:r>
            <a:endParaRPr lang="it-IT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 err="1"/>
              <a:t>Titelmasterformat</a:t>
            </a:r>
            <a:r>
              <a:rPr lang="it-IT" dirty="0"/>
              <a:t> </a:t>
            </a:r>
            <a:r>
              <a:rPr lang="it-IT" dirty="0" err="1"/>
              <a:t>durch</a:t>
            </a:r>
            <a:r>
              <a:rPr lang="it-IT" dirty="0"/>
              <a:t> </a:t>
            </a:r>
            <a:r>
              <a:rPr lang="it-IT" dirty="0" err="1"/>
              <a:t>Klicken</a:t>
            </a:r>
            <a:r>
              <a:rPr lang="it-IT" dirty="0"/>
              <a:t> </a:t>
            </a:r>
            <a:r>
              <a:rPr lang="it-IT" dirty="0" err="1"/>
              <a:t>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55612418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1170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914972"/>
              </p:ext>
            </p:extLst>
          </p:nvPr>
        </p:nvGraphicFramePr>
        <p:xfrm>
          <a:off x="1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21377"/>
      </p:ext>
    </p:extLst>
  </p:cSld>
  <p:clrMapOvr>
    <a:masterClrMapping/>
  </p:clrMapOvr>
  <p:transition spd="med">
    <p:wipe dir="r"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548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5">
            <a:extLst>
              <a:ext uri="{FF2B5EF4-FFF2-40B4-BE49-F238E27FC236}">
                <a16:creationId xmlns:a16="http://schemas.microsoft.com/office/drawing/2014/main" id="{6CAD12DC-F8E2-45D5-ACCC-887B66C957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672" y="6516409"/>
            <a:ext cx="468065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E75C890E-292F-4AD2-87B2-2BAFC6206C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7823" y="6516113"/>
            <a:ext cx="3363831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F93FBADE-3C99-8119-4B67-B031D5B9C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868" y="488543"/>
            <a:ext cx="1508269" cy="33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95635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33E40E2A-2974-0813-DFD7-9AB164749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86" y="340135"/>
            <a:ext cx="11602401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A522505-CDED-3D7E-262F-2BFF273138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184" y="1476002"/>
            <a:ext cx="11602402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999930831"/>
      </p:ext>
    </p:extLst>
  </p:cSld>
  <p:clrMapOvr>
    <a:masterClrMapping/>
  </p:clrMapOvr>
  <p:hf hdr="0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4E94368F-0763-D8D0-4609-3D2D57FDA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86" y="340135"/>
            <a:ext cx="11602401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E4A3F4D-DF48-02AC-6D7D-166F968BC4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184" y="1476002"/>
            <a:ext cx="11602402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733792358"/>
      </p:ext>
    </p:extLst>
  </p:cSld>
  <p:clrMapOvr>
    <a:masterClrMapping/>
  </p:clrMapOvr>
  <p:hf hdr="0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15C48710-5945-6943-0D66-39BAB1FF8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86" y="340135"/>
            <a:ext cx="11602401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7773C7E2-1B69-3D26-3567-A075200566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184" y="1476002"/>
            <a:ext cx="11602402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04514090"/>
      </p:ext>
    </p:extLst>
  </p:cSld>
  <p:clrMapOvr>
    <a:masterClrMapping/>
  </p:clrMapOvr>
  <p:hf hdr="0"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7254657"/>
      </p:ext>
    </p:extLst>
  </p:cSld>
  <p:clrMapOvr>
    <a:masterClrMapping/>
  </p:clrMapOvr>
  <p:hf hdr="0"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786491"/>
      </p:ext>
    </p:extLst>
  </p:cSld>
  <p:clrMapOvr>
    <a:masterClrMapping/>
  </p:clrMapOvr>
  <p:hf hdr="0"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4">
            <a:extLst>
              <a:ext uri="{FF2B5EF4-FFF2-40B4-BE49-F238E27FC236}">
                <a16:creationId xmlns:a16="http://schemas.microsoft.com/office/drawing/2014/main" id="{9238E4BB-EC42-A843-374C-AE036F15D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86" y="340135"/>
            <a:ext cx="11602401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0135269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 mi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4733" y="8"/>
            <a:ext cx="1497267" cy="6857991"/>
          </a:xfrm>
          <a:prstGeom prst="rect">
            <a:avLst/>
          </a:prstGeom>
        </p:spPr>
      </p:pic>
      <p:sp>
        <p:nvSpPr>
          <p:cNvPr id="3" name="Titelplatzhalter 4">
            <a:extLst>
              <a:ext uri="{FF2B5EF4-FFF2-40B4-BE49-F238E27FC236}">
                <a16:creationId xmlns:a16="http://schemas.microsoft.com/office/drawing/2014/main" id="{F902BE6A-D4E5-4DF9-B7A3-8D168862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86" y="340135"/>
            <a:ext cx="11602401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F8F860C4-B38C-ECFF-D99F-D864F7AD86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184" y="1476002"/>
            <a:ext cx="11602402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grpSp>
        <p:nvGrpSpPr>
          <p:cNvPr id="6" name="Gruppieren 10">
            <a:extLst>
              <a:ext uri="{FF2B5EF4-FFF2-40B4-BE49-F238E27FC236}">
                <a16:creationId xmlns:a16="http://schemas.microsoft.com/office/drawing/2014/main" id="{0BF03A08-1184-3B53-F87C-36EE8A1A8409}"/>
              </a:ext>
            </a:extLst>
          </p:cNvPr>
          <p:cNvGrpSpPr/>
          <p:nvPr userDrawn="1"/>
        </p:nvGrpSpPr>
        <p:grpSpPr>
          <a:xfrm>
            <a:off x="9598750" y="6091200"/>
            <a:ext cx="2591663" cy="540000"/>
            <a:chOff x="6538744" y="6082321"/>
            <a:chExt cx="2592000" cy="540000"/>
          </a:xfrm>
        </p:grpSpPr>
        <p:sp>
          <p:nvSpPr>
            <p:cNvPr id="7" name="Rechteck 12">
              <a:extLst>
                <a:ext uri="{FF2B5EF4-FFF2-40B4-BE49-F238E27FC236}">
                  <a16:creationId xmlns:a16="http://schemas.microsoft.com/office/drawing/2014/main" id="{EAA5E348-22E2-AB47-48C7-D02952DA4472}"/>
                </a:ext>
              </a:extLst>
            </p:cNvPr>
            <p:cNvSpPr/>
            <p:nvPr userDrawn="1"/>
          </p:nvSpPr>
          <p:spPr>
            <a:xfrm>
              <a:off x="6538744" y="6082321"/>
              <a:ext cx="2592000" cy="54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180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pic>
          <p:nvPicPr>
            <p:cNvPr id="14" name="Grafik 9">
              <a:extLst>
                <a:ext uri="{FF2B5EF4-FFF2-40B4-BE49-F238E27FC236}">
                  <a16:creationId xmlns:a16="http://schemas.microsoft.com/office/drawing/2014/main" id="{F7C625E6-C3CB-F216-7825-78755DD305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73744" y="6215521"/>
              <a:ext cx="810000" cy="2934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1253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2EA2C71A-13C2-4A0B-984E-75A1722806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734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6" progId="TCLayout.ActiveDocument.1">
                  <p:embed/>
                </p:oleObj>
              </mc:Choice>
              <mc:Fallback>
                <p:oleObj name="Diapositiva think-cell" r:id="rId4" imgW="347" imgH="34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2EA2C71A-13C2-4A0B-984E-75A172280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D66C9560-B30D-42AA-BEA9-441AA33FCD1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it-IT" smtClean="0"/>
              <a:t>24/04/2026</a:t>
            </a:fld>
            <a:endParaRPr lang="it-IT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-IT" dirty="0"/>
              <a:t>|  </a:t>
            </a:r>
            <a:r>
              <a:rPr lang="it-IT" dirty="0" err="1"/>
              <a:t>Optionale</a:t>
            </a:r>
            <a:r>
              <a:rPr lang="it-IT" dirty="0"/>
              <a:t> </a:t>
            </a:r>
            <a:r>
              <a:rPr lang="it-IT" dirty="0" err="1"/>
              <a:t>Zusatzinformationen</a:t>
            </a:r>
            <a:endParaRPr lang="it-IT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 err="1"/>
              <a:t>Titelmasterformat</a:t>
            </a:r>
            <a:r>
              <a:rPr lang="it-IT" dirty="0"/>
              <a:t> </a:t>
            </a:r>
            <a:r>
              <a:rPr lang="it-IT" dirty="0" err="1"/>
              <a:t>durch</a:t>
            </a:r>
            <a:r>
              <a:rPr lang="it-IT" dirty="0"/>
              <a:t> </a:t>
            </a:r>
            <a:r>
              <a:rPr lang="it-IT" dirty="0" err="1"/>
              <a:t>Klicken</a:t>
            </a:r>
            <a:r>
              <a:rPr lang="it-IT" dirty="0"/>
              <a:t> </a:t>
            </a:r>
            <a:r>
              <a:rPr lang="it-IT" dirty="0" err="1"/>
              <a:t>bearbeiten</a:t>
            </a:r>
            <a:endParaRPr lang="it-IT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master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rbeiten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15963" marR="0" lvl="1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081088" marR="0" lvl="2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433513" marR="0" lvl="3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9262603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6364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40">
            <a:extLst>
              <a:ext uri="{FF2B5EF4-FFF2-40B4-BE49-F238E27FC236}">
                <a16:creationId xmlns:a16="http://schemas.microsoft.com/office/drawing/2014/main" id="{7B360796-0694-D74F-91A0-86F194BF3E0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196977"/>
            <a:ext cx="4006850" cy="566102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2" name="Titelplatzhalter 4">
            <a:extLst>
              <a:ext uri="{FF2B5EF4-FFF2-40B4-BE49-F238E27FC236}">
                <a16:creationId xmlns:a16="http://schemas.microsoft.com/office/drawing/2014/main" id="{92406225-39A7-9A43-5CD0-3A66D1AC6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86" y="340135"/>
            <a:ext cx="11602401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40422075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4">
            <a:extLst>
              <a:ext uri="{FF2B5EF4-FFF2-40B4-BE49-F238E27FC236}">
                <a16:creationId xmlns:a16="http://schemas.microsoft.com/office/drawing/2014/main" id="{62B71DE5-5889-BD9A-4692-2CC4D79706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86" y="340135"/>
            <a:ext cx="11602401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8BAB68-66F2-FCA5-8924-F4E712A58D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184" y="1476002"/>
            <a:ext cx="11602402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372270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mi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4732" y="7"/>
            <a:ext cx="1497267" cy="6857991"/>
          </a:xfrm>
          <a:prstGeom prst="rect">
            <a:avLst/>
          </a:prstGeom>
        </p:spPr>
      </p:pic>
      <p:sp>
        <p:nvSpPr>
          <p:cNvPr id="2" name="Titelplatzhalter 4">
            <a:extLst>
              <a:ext uri="{FF2B5EF4-FFF2-40B4-BE49-F238E27FC236}">
                <a16:creationId xmlns:a16="http://schemas.microsoft.com/office/drawing/2014/main" id="{C00BFD7E-0BE9-28AD-7645-310C61877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86" y="340135"/>
            <a:ext cx="11602401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76D0B5E-74B4-1666-FE97-F043E0D5CE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184" y="1476002"/>
            <a:ext cx="11602402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grpSp>
        <p:nvGrpSpPr>
          <p:cNvPr id="5" name="Gruppieren 10">
            <a:extLst>
              <a:ext uri="{FF2B5EF4-FFF2-40B4-BE49-F238E27FC236}">
                <a16:creationId xmlns:a16="http://schemas.microsoft.com/office/drawing/2014/main" id="{E22F138E-7E8A-B317-815C-7B0DDEAB6505}"/>
              </a:ext>
            </a:extLst>
          </p:cNvPr>
          <p:cNvGrpSpPr/>
          <p:nvPr userDrawn="1"/>
        </p:nvGrpSpPr>
        <p:grpSpPr>
          <a:xfrm>
            <a:off x="9598750" y="6091200"/>
            <a:ext cx="2591663" cy="540000"/>
            <a:chOff x="6538744" y="6082321"/>
            <a:chExt cx="2592000" cy="540000"/>
          </a:xfrm>
        </p:grpSpPr>
        <p:sp>
          <p:nvSpPr>
            <p:cNvPr id="6" name="Rechteck 12">
              <a:extLst>
                <a:ext uri="{FF2B5EF4-FFF2-40B4-BE49-F238E27FC236}">
                  <a16:creationId xmlns:a16="http://schemas.microsoft.com/office/drawing/2014/main" id="{FE2CB4A7-DF7F-8DD8-DFE0-E34B5EED4B3E}"/>
                </a:ext>
              </a:extLst>
            </p:cNvPr>
            <p:cNvSpPr/>
            <p:nvPr userDrawn="1"/>
          </p:nvSpPr>
          <p:spPr>
            <a:xfrm>
              <a:off x="6538744" y="6082321"/>
              <a:ext cx="2592000" cy="54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180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pic>
          <p:nvPicPr>
            <p:cNvPr id="12" name="Grafik 9">
              <a:extLst>
                <a:ext uri="{FF2B5EF4-FFF2-40B4-BE49-F238E27FC236}">
                  <a16:creationId xmlns:a16="http://schemas.microsoft.com/office/drawing/2014/main" id="{F0C88C98-D3DA-A7A2-82BD-6A721D7171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73744" y="6215521"/>
              <a:ext cx="810000" cy="2934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185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 ohne 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E4FD317C-5CE5-4FE8-80D5-F623447E73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pPr>
              <a:defRPr/>
            </a:pPr>
            <a:fld id="{65010B03-D230-4701-9F37-B6F131066B93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24.04.202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8E446606-F557-44C7-AB70-3798D212A7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4A1ACA5C-ACEB-4090-8B14-A5070351C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pPr>
              <a:defRPr/>
            </a:pPr>
            <a:fld id="{82EA1D04-CA53-4DE3-84A8-2B63E41036C9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2D6CF9B-F1FA-404B-AA37-44AFEB7FFE14}"/>
              </a:ext>
            </a:extLst>
          </p:cNvPr>
          <p:cNvGrpSpPr/>
          <p:nvPr userDrawn="1"/>
        </p:nvGrpSpPr>
        <p:grpSpPr>
          <a:xfrm>
            <a:off x="9597612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F50A106-E1CC-4971-BD0E-9B8DEBEB3A8A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B743FAD-937E-4C12-9B8B-6250B96473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68000" y="430442"/>
            <a:ext cx="9984944" cy="853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4380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2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AT" err="1">
                <a:solidFill>
                  <a:srgbClr val="000000"/>
                </a:solidFill>
              </a:rPr>
              <a:t>December</a:t>
            </a:r>
            <a:r>
              <a:rPr lang="de-AT">
                <a:solidFill>
                  <a:srgbClr val="000000"/>
                </a:solidFill>
              </a:rPr>
              <a:t> 5/6, 2019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11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8C7A13A-53DF-4C82-A9D2-23D0AB47A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81097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530" imgH="531" progId="TCLayout.ActiveDocument.1">
                  <p:embed/>
                </p:oleObj>
              </mc:Choice>
              <mc:Fallback>
                <p:oleObj name="Diapositiva de think-cell" r:id="rId3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8C7A13A-53DF-4C82-A9D2-23D0AB47A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2" y="1964567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809493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C6A7B-0A61-4565-8BDE-2A0329D21D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C2DDF-E78D-4D7D-A83B-C906C45606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7CEB91-3E97-41E8-9500-4ECDCC87AE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A2F05C-67B6-476B-8040-EA31BE9179B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4/2026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E9B9D6-608D-43E0-94A5-0664BBEBF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8684D3-0D6F-426B-8F50-0557DE692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69E80B-4700-41DF-A682-2D8C78870A51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819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299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99792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0320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5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AT" err="1">
                <a:solidFill>
                  <a:srgbClr val="000000"/>
                </a:solidFill>
              </a:rPr>
              <a:t>December</a:t>
            </a:r>
            <a:r>
              <a:rPr lang="de-AT">
                <a:solidFill>
                  <a:srgbClr val="000000"/>
                </a:solidFill>
              </a:rPr>
              <a:t> 5/6, 2019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47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98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7471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23783B6A-06FE-40BF-A4AB-15A40BC96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971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6" progId="TCLayout.ActiveDocument.1">
                  <p:embed/>
                </p:oleObj>
              </mc:Choice>
              <mc:Fallback>
                <p:oleObj name="Diapositiva think-cell" r:id="rId4" imgW="347" imgH="34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23783B6A-06FE-40BF-A4AB-15A40BC96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C5E0DA92-D54D-4C16-A1AC-07E0F65E09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it-IT" smtClean="0"/>
              <a:t>24/04/2026</a:t>
            </a:fld>
            <a:endParaRPr lang="it-IT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-IT" dirty="0"/>
              <a:t>|  </a:t>
            </a:r>
            <a:r>
              <a:rPr lang="it-IT" dirty="0" err="1"/>
              <a:t>Optionale</a:t>
            </a:r>
            <a:r>
              <a:rPr lang="it-IT" dirty="0"/>
              <a:t> </a:t>
            </a:r>
            <a:r>
              <a:rPr lang="it-IT" dirty="0" err="1"/>
              <a:t>Zusatzinformationen</a:t>
            </a:r>
            <a:endParaRPr lang="it-IT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 err="1"/>
              <a:t>Titelmasterformat</a:t>
            </a:r>
            <a:r>
              <a:rPr lang="it-IT" dirty="0"/>
              <a:t> </a:t>
            </a:r>
            <a:r>
              <a:rPr lang="it-IT" dirty="0" err="1"/>
              <a:t>durch</a:t>
            </a:r>
            <a:r>
              <a:rPr lang="it-IT" dirty="0"/>
              <a:t> </a:t>
            </a:r>
            <a:r>
              <a:rPr lang="it-IT" dirty="0" err="1"/>
              <a:t>Klicken</a:t>
            </a:r>
            <a:r>
              <a:rPr lang="it-IT" dirty="0"/>
              <a:t> </a:t>
            </a:r>
            <a:r>
              <a:rPr lang="it-IT" dirty="0" err="1"/>
              <a:t>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00237564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8877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6987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4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AT" err="1">
                <a:solidFill>
                  <a:srgbClr val="000000"/>
                </a:solidFill>
              </a:rPr>
              <a:t>December</a:t>
            </a:r>
            <a:r>
              <a:rPr lang="de-AT">
                <a:solidFill>
                  <a:srgbClr val="000000"/>
                </a:solidFill>
              </a:rPr>
              <a:t> 5/6, 2019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57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251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42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4136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77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4/24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  <p:pic>
        <p:nvPicPr>
          <p:cNvPr id="13" name="Grafik 12" descr="Ein Bild, das Himmel, Tag enthält.&#10;&#10;Automatisch generierte Beschreibung">
            <a:extLst>
              <a:ext uri="{FF2B5EF4-FFF2-40B4-BE49-F238E27FC236}">
                <a16:creationId xmlns:a16="http://schemas.microsoft.com/office/drawing/2014/main" id="{429CF7D1-9770-B153-FE43-4746F3D2D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0413" cy="6995160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50AD495-8BF0-E37C-89EC-15A5603D65AE}"/>
              </a:ext>
            </a:extLst>
          </p:cNvPr>
          <p:cNvGrpSpPr/>
          <p:nvPr userDrawn="1"/>
        </p:nvGrpSpPr>
        <p:grpSpPr>
          <a:xfrm>
            <a:off x="8983777" y="571900"/>
            <a:ext cx="16199999" cy="1080000"/>
            <a:chOff x="6137407" y="3368287"/>
            <a:chExt cx="16199999" cy="1080000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62AC897-123C-7467-8D74-FD27C7915708}"/>
                </a:ext>
              </a:extLst>
            </p:cNvPr>
            <p:cNvGrpSpPr/>
            <p:nvPr/>
          </p:nvGrpSpPr>
          <p:grpSpPr>
            <a:xfrm>
              <a:off x="6137407" y="3368287"/>
              <a:ext cx="16199999" cy="1080000"/>
              <a:chOff x="-6603521" y="864000"/>
              <a:chExt cx="16199999" cy="108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B40CFAF-A723-B84A-638C-7383D019C36A}"/>
                  </a:ext>
                </a:extLst>
              </p:cNvPr>
              <p:cNvSpPr/>
              <p:nvPr userDrawn="1"/>
            </p:nvSpPr>
            <p:spPr>
              <a:xfrm>
                <a:off x="-6603521" y="864000"/>
                <a:ext cx="16199999" cy="10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CD76ACC0-3BBB-4511-F6F9-1725F120FE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6337644" y="1137683"/>
                <a:ext cx="1619425" cy="586722"/>
              </a:xfrm>
              <a:prstGeom prst="rect">
                <a:avLst/>
              </a:prstGeom>
            </p:spPr>
          </p:pic>
        </p:grp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BE42BD1-D1C4-FF72-E02A-2F671E7D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92686F4D-4BA2-9C02-23FF-E508ADE60EEF}"/>
              </a:ext>
            </a:extLst>
          </p:cNvPr>
          <p:cNvSpPr txBox="1">
            <a:spLocks/>
          </p:cNvSpPr>
          <p:nvPr userDrawn="1"/>
        </p:nvSpPr>
        <p:spPr>
          <a:xfrm>
            <a:off x="233109" y="1552726"/>
            <a:ext cx="2962036" cy="92442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750" b="0" dirty="0">
                <a:solidFill>
                  <a:schemeClr val="bg1"/>
                </a:solidFill>
              </a:rPr>
              <a:t>The new innovation to control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piercing and sucking pests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from the start.</a:t>
            </a:r>
            <a:endParaRPr lang="de-DE" sz="1750" b="0" dirty="0">
              <a:solidFill>
                <a:schemeClr val="bg1"/>
              </a:solidFill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7E6D40B-5123-714E-9809-409B7DBBE271}"/>
              </a:ext>
            </a:extLst>
          </p:cNvPr>
          <p:cNvSpPr txBox="1">
            <a:spLocks/>
          </p:cNvSpPr>
          <p:nvPr userDrawn="1"/>
        </p:nvSpPr>
        <p:spPr>
          <a:xfrm>
            <a:off x="4012407" y="3182897"/>
            <a:ext cx="2082007" cy="5296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400" dirty="0"/>
              <a:t>Turn the power 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of Axalion</a:t>
            </a:r>
            <a:r>
              <a:rPr lang="en-US" sz="1400" baseline="30000" dirty="0"/>
              <a:t>®</a:t>
            </a:r>
            <a:r>
              <a:rPr lang="en-US" sz="1400" dirty="0"/>
              <a:t> Active ON</a:t>
            </a:r>
            <a:endParaRPr lang="de-DE" sz="1400" b="0" dirty="0"/>
          </a:p>
        </p:txBody>
      </p:sp>
      <p:pic>
        <p:nvPicPr>
          <p:cNvPr id="24" name="Grafik 9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4D7A563-5DAA-AFAB-0F61-D1BC1C9AFE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639" y="702644"/>
            <a:ext cx="3548691" cy="70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2751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5"/>
          <p:cNvPicPr preferRelativeResize="0"/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56041" y="-2660924"/>
            <a:ext cx="6878333" cy="1217984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959875" y="593367"/>
            <a:ext cx="10270663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ubTitle" idx="1"/>
          </p:nvPr>
        </p:nvSpPr>
        <p:spPr>
          <a:xfrm>
            <a:off x="6578337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ubTitle" idx="2"/>
          </p:nvPr>
        </p:nvSpPr>
        <p:spPr>
          <a:xfrm>
            <a:off x="2163723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ubTitle" idx="3"/>
          </p:nvPr>
        </p:nvSpPr>
        <p:spPr>
          <a:xfrm>
            <a:off x="2163723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4"/>
          </p:nvPr>
        </p:nvSpPr>
        <p:spPr>
          <a:xfrm>
            <a:off x="6578339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420945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70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914972"/>
              </p:ext>
            </p:ext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35308"/>
      </p:ext>
    </p:extLst>
  </p:cSld>
  <p:clrMapOvr>
    <a:masterClrMapping/>
  </p:clrMapOvr>
  <p:transition spd="med"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281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694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3459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4/24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  <p:pic>
        <p:nvPicPr>
          <p:cNvPr id="13" name="Grafik 12" descr="Ein Bild, das Himmel, Tag enthält.&#10;&#10;Automatisch generierte Beschreibung">
            <a:extLst>
              <a:ext uri="{FF2B5EF4-FFF2-40B4-BE49-F238E27FC236}">
                <a16:creationId xmlns:a16="http://schemas.microsoft.com/office/drawing/2014/main" id="{429CF7D1-9770-B153-FE43-4746F3D2D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0413" cy="6995160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50AD495-8BF0-E37C-89EC-15A5603D65AE}"/>
              </a:ext>
            </a:extLst>
          </p:cNvPr>
          <p:cNvGrpSpPr/>
          <p:nvPr userDrawn="1"/>
        </p:nvGrpSpPr>
        <p:grpSpPr>
          <a:xfrm>
            <a:off x="8983777" y="571900"/>
            <a:ext cx="16199999" cy="1080000"/>
            <a:chOff x="6137407" y="3368287"/>
            <a:chExt cx="16199999" cy="1080000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62AC897-123C-7467-8D74-FD27C7915708}"/>
                </a:ext>
              </a:extLst>
            </p:cNvPr>
            <p:cNvGrpSpPr/>
            <p:nvPr/>
          </p:nvGrpSpPr>
          <p:grpSpPr>
            <a:xfrm>
              <a:off x="6137407" y="3368287"/>
              <a:ext cx="16199999" cy="1080000"/>
              <a:chOff x="-6603521" y="864000"/>
              <a:chExt cx="16199999" cy="108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B40CFAF-A723-B84A-638C-7383D019C36A}"/>
                  </a:ext>
                </a:extLst>
              </p:cNvPr>
              <p:cNvSpPr/>
              <p:nvPr userDrawn="1"/>
            </p:nvSpPr>
            <p:spPr>
              <a:xfrm>
                <a:off x="-6603521" y="864000"/>
                <a:ext cx="16199999" cy="10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CD76ACC0-3BBB-4511-F6F9-1725F120FE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6337644" y="1137683"/>
                <a:ext cx="1619425" cy="586722"/>
              </a:xfrm>
              <a:prstGeom prst="rect">
                <a:avLst/>
              </a:prstGeom>
            </p:spPr>
          </p:pic>
        </p:grp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BE42BD1-D1C4-FF72-E02A-2F671E7D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92686F4D-4BA2-9C02-23FF-E508ADE60EEF}"/>
              </a:ext>
            </a:extLst>
          </p:cNvPr>
          <p:cNvSpPr txBox="1">
            <a:spLocks/>
          </p:cNvSpPr>
          <p:nvPr userDrawn="1"/>
        </p:nvSpPr>
        <p:spPr>
          <a:xfrm>
            <a:off x="233109" y="1552726"/>
            <a:ext cx="2962036" cy="92442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750" b="0" dirty="0">
                <a:solidFill>
                  <a:schemeClr val="bg1"/>
                </a:solidFill>
              </a:rPr>
              <a:t>The new innovation to control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piercing and sucking pests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from the start.</a:t>
            </a:r>
            <a:endParaRPr lang="de-DE" sz="1750" b="0" dirty="0">
              <a:solidFill>
                <a:schemeClr val="bg1"/>
              </a:solidFill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7E6D40B-5123-714E-9809-409B7DBBE271}"/>
              </a:ext>
            </a:extLst>
          </p:cNvPr>
          <p:cNvSpPr txBox="1">
            <a:spLocks/>
          </p:cNvSpPr>
          <p:nvPr userDrawn="1"/>
        </p:nvSpPr>
        <p:spPr>
          <a:xfrm>
            <a:off x="4012407" y="3182897"/>
            <a:ext cx="2082007" cy="5296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400" dirty="0"/>
              <a:t>Turn the power 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of Axalion</a:t>
            </a:r>
            <a:r>
              <a:rPr lang="en-US" sz="1400" baseline="30000" dirty="0"/>
              <a:t>®</a:t>
            </a:r>
            <a:r>
              <a:rPr lang="en-US" sz="1400" dirty="0"/>
              <a:t> Active ON</a:t>
            </a:r>
            <a:endParaRPr lang="de-DE" sz="1400" b="0" dirty="0"/>
          </a:p>
        </p:txBody>
      </p:sp>
      <p:pic>
        <p:nvPicPr>
          <p:cNvPr id="24" name="Grafik 9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4D7A563-5DAA-AFAB-0F61-D1BC1C9AFE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639" y="702644"/>
            <a:ext cx="3548691" cy="70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3999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1_Title and two 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5"/>
          <p:cNvPicPr preferRelativeResize="0"/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56041" y="-2660924"/>
            <a:ext cx="6878333" cy="1217984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959875" y="593367"/>
            <a:ext cx="10270663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ubTitle" idx="1"/>
          </p:nvPr>
        </p:nvSpPr>
        <p:spPr>
          <a:xfrm>
            <a:off x="6578337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ubTitle" idx="2"/>
          </p:nvPr>
        </p:nvSpPr>
        <p:spPr>
          <a:xfrm>
            <a:off x="2163723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ubTitle" idx="3"/>
          </p:nvPr>
        </p:nvSpPr>
        <p:spPr>
          <a:xfrm>
            <a:off x="2163723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4"/>
          </p:nvPr>
        </p:nvSpPr>
        <p:spPr>
          <a:xfrm>
            <a:off x="6578339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9884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052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0032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0206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9965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4/24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  <p:pic>
        <p:nvPicPr>
          <p:cNvPr id="13" name="Grafik 12" descr="Ein Bild, das Himmel, Tag enthält.&#10;&#10;Automatisch generierte Beschreibung">
            <a:extLst>
              <a:ext uri="{FF2B5EF4-FFF2-40B4-BE49-F238E27FC236}">
                <a16:creationId xmlns:a16="http://schemas.microsoft.com/office/drawing/2014/main" id="{429CF7D1-9770-B153-FE43-4746F3D2D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0413" cy="6995160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50AD495-8BF0-E37C-89EC-15A5603D65AE}"/>
              </a:ext>
            </a:extLst>
          </p:cNvPr>
          <p:cNvGrpSpPr/>
          <p:nvPr userDrawn="1"/>
        </p:nvGrpSpPr>
        <p:grpSpPr>
          <a:xfrm>
            <a:off x="8983777" y="571900"/>
            <a:ext cx="16199999" cy="1080000"/>
            <a:chOff x="6137407" y="3368287"/>
            <a:chExt cx="16199999" cy="1080000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62AC897-123C-7467-8D74-FD27C7915708}"/>
                </a:ext>
              </a:extLst>
            </p:cNvPr>
            <p:cNvGrpSpPr/>
            <p:nvPr/>
          </p:nvGrpSpPr>
          <p:grpSpPr>
            <a:xfrm>
              <a:off x="6137407" y="3368287"/>
              <a:ext cx="16199999" cy="1080000"/>
              <a:chOff x="-6603521" y="864000"/>
              <a:chExt cx="16199999" cy="108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B40CFAF-A723-B84A-638C-7383D019C36A}"/>
                  </a:ext>
                </a:extLst>
              </p:cNvPr>
              <p:cNvSpPr/>
              <p:nvPr userDrawn="1"/>
            </p:nvSpPr>
            <p:spPr>
              <a:xfrm>
                <a:off x="-6603521" y="864000"/>
                <a:ext cx="16199999" cy="10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CD76ACC0-3BBB-4511-F6F9-1725F120FE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6337644" y="1137683"/>
                <a:ext cx="1619425" cy="586722"/>
              </a:xfrm>
              <a:prstGeom prst="rect">
                <a:avLst/>
              </a:prstGeom>
            </p:spPr>
          </p:pic>
        </p:grp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BE42BD1-D1C4-FF72-E02A-2F671E7D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92686F4D-4BA2-9C02-23FF-E508ADE60EEF}"/>
              </a:ext>
            </a:extLst>
          </p:cNvPr>
          <p:cNvSpPr txBox="1">
            <a:spLocks/>
          </p:cNvSpPr>
          <p:nvPr userDrawn="1"/>
        </p:nvSpPr>
        <p:spPr>
          <a:xfrm>
            <a:off x="233109" y="1552726"/>
            <a:ext cx="2962036" cy="92442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750" b="0" dirty="0">
                <a:solidFill>
                  <a:schemeClr val="bg1"/>
                </a:solidFill>
              </a:rPr>
              <a:t>The new innovation to control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piercing and sucking pests </a:t>
            </a:r>
            <a:br>
              <a:rPr lang="en-US" sz="1750" b="0" dirty="0">
                <a:solidFill>
                  <a:schemeClr val="bg1"/>
                </a:solidFill>
              </a:rPr>
            </a:br>
            <a:r>
              <a:rPr lang="en-US" sz="1750" b="0" dirty="0">
                <a:solidFill>
                  <a:schemeClr val="bg1"/>
                </a:solidFill>
              </a:rPr>
              <a:t>from the start.</a:t>
            </a:r>
            <a:endParaRPr lang="de-DE" sz="1750" b="0" dirty="0">
              <a:solidFill>
                <a:schemeClr val="bg1"/>
              </a:solidFill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7E6D40B-5123-714E-9809-409B7DBBE271}"/>
              </a:ext>
            </a:extLst>
          </p:cNvPr>
          <p:cNvSpPr txBox="1">
            <a:spLocks/>
          </p:cNvSpPr>
          <p:nvPr userDrawn="1"/>
        </p:nvSpPr>
        <p:spPr>
          <a:xfrm>
            <a:off x="4012407" y="3182897"/>
            <a:ext cx="2082007" cy="5296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400" dirty="0"/>
              <a:t>Turn the power 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of Axalion</a:t>
            </a:r>
            <a:r>
              <a:rPr lang="en-US" sz="1400" baseline="30000" dirty="0"/>
              <a:t>®</a:t>
            </a:r>
            <a:r>
              <a:rPr lang="en-US" sz="1400" dirty="0"/>
              <a:t> Active ON</a:t>
            </a:r>
            <a:endParaRPr lang="de-DE" sz="1400" b="0" dirty="0"/>
          </a:p>
        </p:txBody>
      </p:sp>
      <p:pic>
        <p:nvPicPr>
          <p:cNvPr id="24" name="Grafik 9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4D7A563-5DAA-AFAB-0F61-D1BC1C9AFE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639" y="702644"/>
            <a:ext cx="3548691" cy="70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1007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3311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1_Title and two 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5"/>
          <p:cNvPicPr preferRelativeResize="0"/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56041" y="-2660924"/>
            <a:ext cx="6878333" cy="1217984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959875" y="593367"/>
            <a:ext cx="10270663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ubTitle" idx="1"/>
          </p:nvPr>
        </p:nvSpPr>
        <p:spPr>
          <a:xfrm>
            <a:off x="6578337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ubTitle" idx="2"/>
          </p:nvPr>
        </p:nvSpPr>
        <p:spPr>
          <a:xfrm>
            <a:off x="2163723" y="3779520"/>
            <a:ext cx="3448351" cy="17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ubTitle" idx="3"/>
          </p:nvPr>
        </p:nvSpPr>
        <p:spPr>
          <a:xfrm>
            <a:off x="2163723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4"/>
          </p:nvPr>
        </p:nvSpPr>
        <p:spPr>
          <a:xfrm>
            <a:off x="6578339" y="3330605"/>
            <a:ext cx="3448351" cy="6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2267" b="1">
                <a:latin typeface="Epilogue"/>
                <a:ea typeface="Epilogue"/>
                <a:cs typeface="Epilogue"/>
                <a:sym typeface="Epilog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pilogue"/>
              <a:buNone/>
              <a:defRPr sz="3200" b="1">
                <a:latin typeface="Epilogue"/>
                <a:ea typeface="Epilogue"/>
                <a:cs typeface="Epilogue"/>
                <a:sym typeface="Epilog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64480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03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95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58860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0078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de-AT">
                <a:solidFill>
                  <a:srgbClr val="000000"/>
                </a:solidFill>
              </a:rPr>
              <a:t>December 5/6, 2019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47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739DD-91D0-49AF-B8A6-831F2F9E3B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FA6A31-5CF3-4C79-83F0-C8470905DB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62" indent="0" algn="ctr">
              <a:buNone/>
              <a:defRPr sz="2000"/>
            </a:lvl2pPr>
            <a:lvl3pPr marL="914127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3" indent="0" algn="ctr">
              <a:buNone/>
              <a:defRPr sz="1600"/>
            </a:lvl6pPr>
            <a:lvl7pPr marL="2742378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0CAB55-60F6-4344-92D7-BABD0B0F9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7F5598-374F-4EB7-90D0-7778DF10F426}" type="datetimeFigureOut">
              <a:rPr lang="it-IT" smtClean="0"/>
              <a:t>24/04/2026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0E592C-4350-4F27-8358-E808D2784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07D8C-97CC-47FC-A4EC-DBC1ED7B6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3376-F6FB-4F39-A6D0-7616810F91E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1083193"/>
      </p:ext>
    </p:extLst>
  </p:cSld>
  <p:clrMapOvr>
    <a:masterClrMapping/>
  </p:clrMapOvr>
  <p:hf sldNum="0"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Optiona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FF57D4-566D-4B5C-B9FF-3041471793EE}" type="datetime1">
              <a:rPr lang="de-DE" smtClean="0"/>
              <a:t>24.04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62747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588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41124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" dirty="0"/>
              <a:t>Workshop sulla messaggistica globale di Axalion | Novembre 2021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0219802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963" marR="0" lvl="1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1088" marR="0" lvl="2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794313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1862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1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de-AT">
                <a:solidFill>
                  <a:srgbClr val="000000"/>
                </a:solidFill>
              </a:rPr>
              <a:t>December 5/6, 2019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14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739DD-91D0-49AF-B8A6-831F2F9E3B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FA6A31-5CF3-4C79-83F0-C8470905DB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62" indent="0" algn="ctr">
              <a:buNone/>
              <a:defRPr sz="2000"/>
            </a:lvl2pPr>
            <a:lvl3pPr marL="914127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3" indent="0" algn="ctr">
              <a:buNone/>
              <a:defRPr sz="1600"/>
            </a:lvl6pPr>
            <a:lvl7pPr marL="2742378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0CAB55-60F6-4344-92D7-BABD0B0F9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7F5598-374F-4EB7-90D0-7778DF10F426}" type="datetimeFigureOut">
              <a:rPr lang="it-IT" smtClean="0"/>
              <a:t>24/04/2026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0E592C-4350-4F27-8358-E808D2784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07D8C-97CC-47FC-A4EC-DBC1ED7B6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3376-F6FB-4F39-A6D0-7616810F91E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52050559"/>
      </p:ext>
    </p:extLst>
  </p:cSld>
  <p:clrMapOvr>
    <a:masterClrMapping/>
  </p:clrMapOvr>
  <p:hf sldNum="0"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Optiona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FF57D4-566D-4B5C-B9FF-3041471793EE}" type="datetime1">
              <a:rPr lang="de-DE" smtClean="0"/>
              <a:t>24.04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439141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C6A7B-0A61-4565-8BDE-2A0329D21D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C2DDF-E78D-4D7D-A83B-C906C45606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7CEB91-3E97-41E8-9500-4ECDCC87AE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/>
          <a:lstStyle/>
          <a:p>
            <a:fld id="{73A2F05C-67B6-476B-8040-EA31BE9179B7}" type="datetimeFigureOut">
              <a:rPr lang="en-US" smtClean="0"/>
              <a:t>4/2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E9B9D6-608D-43E0-94A5-0664BBEBF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/>
          <a:lstStyle/>
          <a:p>
            <a:r>
              <a:rPr lang="de-DE" dirty="0" err="1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8684D3-0D6F-426B-8F50-0557DE692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fld id="{2469E80B-4700-41DF-A682-2D8C78870A51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330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549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Axalion</a:t>
            </a:r>
            <a:r>
              <a:rPr lang="de-DE" baseline="30000"/>
              <a:t>®</a:t>
            </a:r>
            <a:r>
              <a:rPr lang="de-DE"/>
              <a:t> 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1203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Axalion</a:t>
            </a:r>
            <a:r>
              <a:rPr lang="de-DE" baseline="30000"/>
              <a:t>®</a:t>
            </a:r>
            <a:r>
              <a:rPr lang="de-DE"/>
              <a:t> 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9692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2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de-AT">
                <a:solidFill>
                  <a:srgbClr val="000000"/>
                </a:solidFill>
              </a:rPr>
              <a:t>December 5/6, 2019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7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536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"/>
              <a:t>Messaggi sui tratti del cotone | Giugno 2021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58960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739DD-91D0-49AF-B8A6-831F2F9E3B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FA6A31-5CF3-4C79-83F0-C8470905DB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62" indent="0" algn="ctr">
              <a:buNone/>
              <a:defRPr sz="2000"/>
            </a:lvl2pPr>
            <a:lvl3pPr marL="914127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3" indent="0" algn="ctr">
              <a:buNone/>
              <a:defRPr sz="1600"/>
            </a:lvl6pPr>
            <a:lvl7pPr marL="2742378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0CAB55-60F6-4344-92D7-BABD0B0F9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7F5598-374F-4EB7-90D0-7778DF10F426}" type="datetimeFigureOut">
              <a:rPr lang="it-IT" smtClean="0"/>
              <a:t>24/04/2026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0E592C-4350-4F27-8358-E808D2784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07D8C-97CC-47FC-A4EC-DBC1ED7B6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3376-F6FB-4F39-A6D0-7616810F91E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13598685"/>
      </p:ext>
    </p:extLst>
  </p:cSld>
  <p:clrMapOvr>
    <a:masterClrMapping/>
  </p:clrMapOvr>
  <p:hf sldNum="0"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Optiona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FF57D4-566D-4B5C-B9FF-3041471793EE}" type="datetime1">
              <a:rPr lang="de-DE" smtClean="0"/>
              <a:t>24.04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082593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8C7A13A-53DF-4C82-A9D2-23D0AB47A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81097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530" imgH="531" progId="TCLayout.ActiveDocument.1">
                  <p:embed/>
                </p:oleObj>
              </mc:Choice>
              <mc:Fallback>
                <p:oleObj name="Diapositiva de think-cell" r:id="rId3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8C7A13A-53DF-4C82-A9D2-23D0AB47A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6030286" y="6451321"/>
            <a:ext cx="12984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C50022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  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C50022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309">
              <a:defRPr/>
            </a:pPr>
            <a:r>
              <a:rPr lang="de-DE">
                <a:solidFill>
                  <a:srgbClr val="000000"/>
                </a:solidFill>
              </a:rPr>
              <a:t>03.12.2019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pPr defTabSz="914309">
              <a:defRPr/>
            </a:pPr>
            <a:r>
              <a:rPr lang="en-US"/>
              <a:t>| SPCs Team Meeting</a:t>
            </a:r>
            <a:endParaRPr lang="de-DE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pPr defTabSz="914309">
              <a:defRPr/>
            </a:pPr>
            <a:fld id="{82EA1D04-CA53-4DE3-84A8-2B63E41036C9}" type="slidenum">
              <a:rPr lang="de-DE" smtClean="0">
                <a:solidFill>
                  <a:srgbClr val="000000"/>
                </a:solidFill>
              </a:rPr>
              <a:pPr defTabSz="914309"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2" y="1964567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25389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979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Axalion</a:t>
            </a:r>
            <a:r>
              <a:rPr lang="de-DE" baseline="30000"/>
              <a:t>®</a:t>
            </a:r>
            <a:r>
              <a:rPr lang="de-DE"/>
              <a:t> 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961066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Axalion</a:t>
            </a:r>
            <a:r>
              <a:rPr lang="de-DE" baseline="30000"/>
              <a:t>®</a:t>
            </a:r>
            <a:r>
              <a:rPr lang="de-DE"/>
              <a:t> 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9186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3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de-AT">
                <a:solidFill>
                  <a:srgbClr val="000000"/>
                </a:solidFill>
              </a:rPr>
              <a:t>December 5/6, 2019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40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5927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739DD-91D0-49AF-B8A6-831F2F9E3B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FA6A31-5CF3-4C79-83F0-C8470905DB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62" indent="0" algn="ctr">
              <a:buNone/>
              <a:defRPr sz="2000"/>
            </a:lvl2pPr>
            <a:lvl3pPr marL="914127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3" indent="0" algn="ctr">
              <a:buNone/>
              <a:defRPr sz="1600"/>
            </a:lvl6pPr>
            <a:lvl7pPr marL="2742378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0CAB55-60F6-4344-92D7-BABD0B0F9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7F5598-374F-4EB7-90D0-7778DF10F426}" type="datetimeFigureOut">
              <a:rPr lang="it-IT" smtClean="0"/>
              <a:t>24/04/2026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0E592C-4350-4F27-8358-E808D2784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07D8C-97CC-47FC-A4EC-DBC1ED7B6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3376-F6FB-4F39-A6D0-7616810F91E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9940345"/>
      </p:ext>
    </p:extLst>
  </p:cSld>
  <p:clrMapOvr>
    <a:masterClrMapping/>
  </p:clrMapOvr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Optiona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FF57D4-566D-4B5C-B9FF-3041471793EE}" type="datetime1">
              <a:rPr lang="de-DE" smtClean="0"/>
              <a:t>24.04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53087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it"/>
              <a:t>Mastertextformat bearbeiten</a:t>
            </a:r>
          </a:p>
          <a:p>
            <a:pPr lvl="1"/>
            <a:r>
              <a:rPr lang="it"/>
              <a:t>Zweite Ebene</a:t>
            </a:r>
          </a:p>
          <a:p>
            <a:pPr lvl="2"/>
            <a:r>
              <a:rPr lang="it"/>
              <a:t>Dritte Ebene</a:t>
            </a:r>
          </a:p>
          <a:p>
            <a:pPr lvl="3"/>
            <a:r>
              <a:rPr lang="it"/>
              <a:t>Vierte Ebene</a:t>
            </a:r>
          </a:p>
          <a:p>
            <a:pPr lvl="4"/>
            <a:r>
              <a:rPr lang="it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it">
                <a:solidFill>
                  <a:srgbClr val="000000"/>
                </a:solidFill>
              </a:rPr>
              <a:t>5/6 dicembre 2019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90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8C7A13A-53DF-4C82-A9D2-23D0AB47A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81097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530" imgH="531" progId="TCLayout.ActiveDocument.1">
                  <p:embed/>
                </p:oleObj>
              </mc:Choice>
              <mc:Fallback>
                <p:oleObj name="Diapositiva de think-cell" r:id="rId3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8C7A13A-53DF-4C82-A9D2-23D0AB47A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6030286" y="6451321"/>
            <a:ext cx="12984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C50022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  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C50022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309">
              <a:defRPr/>
            </a:pPr>
            <a:r>
              <a:rPr lang="de-DE">
                <a:solidFill>
                  <a:srgbClr val="000000"/>
                </a:solidFill>
              </a:rPr>
              <a:t>03.12.2019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pPr defTabSz="914309">
              <a:defRPr/>
            </a:pPr>
            <a:r>
              <a:rPr lang="en-US"/>
              <a:t>| SPCs Team Meeting</a:t>
            </a:r>
            <a:endParaRPr lang="de-DE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pPr defTabSz="914309">
              <a:defRPr/>
            </a:pPr>
            <a:fld id="{82EA1D04-CA53-4DE3-84A8-2B63E41036C9}" type="slidenum">
              <a:rPr lang="de-DE" smtClean="0">
                <a:solidFill>
                  <a:srgbClr val="000000"/>
                </a:solidFill>
              </a:rPr>
              <a:pPr defTabSz="914309"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2" y="1964567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34391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268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06909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1485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11_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de-AT">
                <a:solidFill>
                  <a:srgbClr val="000000"/>
                </a:solidFill>
              </a:rPr>
              <a:t>December 5/6, 2019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078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739DD-91D0-49AF-B8A6-831F2F9E3B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FA6A31-5CF3-4C79-83F0-C8470905DB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62" indent="0" algn="ctr">
              <a:buNone/>
              <a:defRPr sz="2000"/>
            </a:lvl2pPr>
            <a:lvl3pPr marL="914127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3" indent="0" algn="ctr">
              <a:buNone/>
              <a:defRPr sz="1600"/>
            </a:lvl6pPr>
            <a:lvl7pPr marL="2742378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0CAB55-60F6-4344-92D7-BABD0B0F9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7F5598-374F-4EB7-90D0-7778DF10F426}" type="datetimeFigureOut">
              <a:rPr lang="it-IT" smtClean="0"/>
              <a:t>24/04/2026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0E592C-4350-4F27-8358-E808D2784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07D8C-97CC-47FC-A4EC-DBC1ED7B6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3376-F6FB-4F39-A6D0-7616810F91E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70431612"/>
      </p:ext>
    </p:extLst>
  </p:cSld>
  <p:clrMapOvr>
    <a:masterClrMapping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Optiona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FF57D4-566D-4B5C-B9FF-3041471793EE}" type="datetime1">
              <a:rPr lang="de-DE" smtClean="0"/>
              <a:t>24.04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559739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707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180724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109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7.xml"/><Relationship Id="rId18" Type="http://schemas.openxmlformats.org/officeDocument/2006/relationships/slideLayout" Target="../slideLayouts/slideLayout242.xml"/><Relationship Id="rId26" Type="http://schemas.openxmlformats.org/officeDocument/2006/relationships/slideLayout" Target="../slideLayouts/slideLayout250.xml"/><Relationship Id="rId39" Type="http://schemas.openxmlformats.org/officeDocument/2006/relationships/tags" Target="../tags/tag32.xml"/><Relationship Id="rId21" Type="http://schemas.openxmlformats.org/officeDocument/2006/relationships/slideLayout" Target="../slideLayouts/slideLayout245.xml"/><Relationship Id="rId34" Type="http://schemas.openxmlformats.org/officeDocument/2006/relationships/slideLayout" Target="../slideLayouts/slideLayout258.xml"/><Relationship Id="rId42" Type="http://schemas.openxmlformats.org/officeDocument/2006/relationships/image" Target="../media/image8.png"/><Relationship Id="rId7" Type="http://schemas.openxmlformats.org/officeDocument/2006/relationships/slideLayout" Target="../slideLayouts/slideLayout231.xml"/><Relationship Id="rId2" Type="http://schemas.openxmlformats.org/officeDocument/2006/relationships/slideLayout" Target="../slideLayouts/slideLayout226.xml"/><Relationship Id="rId16" Type="http://schemas.openxmlformats.org/officeDocument/2006/relationships/slideLayout" Target="../slideLayouts/slideLayout240.xml"/><Relationship Id="rId20" Type="http://schemas.openxmlformats.org/officeDocument/2006/relationships/slideLayout" Target="../slideLayouts/slideLayout244.xml"/><Relationship Id="rId29" Type="http://schemas.openxmlformats.org/officeDocument/2006/relationships/slideLayout" Target="../slideLayouts/slideLayout253.xml"/><Relationship Id="rId41" Type="http://schemas.openxmlformats.org/officeDocument/2006/relationships/image" Target="../media/image11.emf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24" Type="http://schemas.openxmlformats.org/officeDocument/2006/relationships/slideLayout" Target="../slideLayouts/slideLayout248.xml"/><Relationship Id="rId32" Type="http://schemas.openxmlformats.org/officeDocument/2006/relationships/slideLayout" Target="../slideLayouts/slideLayout256.xml"/><Relationship Id="rId37" Type="http://schemas.openxmlformats.org/officeDocument/2006/relationships/slideLayout" Target="../slideLayouts/slideLayout261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229.xml"/><Relationship Id="rId15" Type="http://schemas.openxmlformats.org/officeDocument/2006/relationships/slideLayout" Target="../slideLayouts/slideLayout239.xml"/><Relationship Id="rId23" Type="http://schemas.openxmlformats.org/officeDocument/2006/relationships/slideLayout" Target="../slideLayouts/slideLayout247.xml"/><Relationship Id="rId28" Type="http://schemas.openxmlformats.org/officeDocument/2006/relationships/slideLayout" Target="../slideLayouts/slideLayout252.xml"/><Relationship Id="rId36" Type="http://schemas.openxmlformats.org/officeDocument/2006/relationships/slideLayout" Target="../slideLayouts/slideLayout260.xml"/><Relationship Id="rId10" Type="http://schemas.openxmlformats.org/officeDocument/2006/relationships/slideLayout" Target="../slideLayouts/slideLayout234.xml"/><Relationship Id="rId19" Type="http://schemas.openxmlformats.org/officeDocument/2006/relationships/slideLayout" Target="../slideLayouts/slideLayout243.xml"/><Relationship Id="rId31" Type="http://schemas.openxmlformats.org/officeDocument/2006/relationships/slideLayout" Target="../slideLayouts/slideLayout255.xml"/><Relationship Id="rId44" Type="http://schemas.openxmlformats.org/officeDocument/2006/relationships/image" Target="../media/image24.png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Relationship Id="rId22" Type="http://schemas.openxmlformats.org/officeDocument/2006/relationships/slideLayout" Target="../slideLayouts/slideLayout246.xml"/><Relationship Id="rId27" Type="http://schemas.openxmlformats.org/officeDocument/2006/relationships/slideLayout" Target="../slideLayouts/slideLayout251.xml"/><Relationship Id="rId30" Type="http://schemas.openxmlformats.org/officeDocument/2006/relationships/slideLayout" Target="../slideLayouts/slideLayout254.xml"/><Relationship Id="rId35" Type="http://schemas.openxmlformats.org/officeDocument/2006/relationships/slideLayout" Target="../slideLayouts/slideLayout259.xml"/><Relationship Id="rId43" Type="http://schemas.openxmlformats.org/officeDocument/2006/relationships/image" Target="../media/image9.svg"/><Relationship Id="rId8" Type="http://schemas.openxmlformats.org/officeDocument/2006/relationships/slideLayout" Target="../slideLayouts/slideLayout232.xml"/><Relationship Id="rId3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6.xml"/><Relationship Id="rId17" Type="http://schemas.openxmlformats.org/officeDocument/2006/relationships/slideLayout" Target="../slideLayouts/slideLayout241.xml"/><Relationship Id="rId25" Type="http://schemas.openxmlformats.org/officeDocument/2006/relationships/slideLayout" Target="../slideLayouts/slideLayout249.xml"/><Relationship Id="rId33" Type="http://schemas.openxmlformats.org/officeDocument/2006/relationships/slideLayout" Target="../slideLayouts/slideLayout257.xml"/><Relationship Id="rId38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9.xml"/><Relationship Id="rId13" Type="http://schemas.openxmlformats.org/officeDocument/2006/relationships/slideLayout" Target="../slideLayouts/slideLayout274.xml"/><Relationship Id="rId18" Type="http://schemas.openxmlformats.org/officeDocument/2006/relationships/slideLayout" Target="../slideLayouts/slideLayout279.xml"/><Relationship Id="rId3" Type="http://schemas.openxmlformats.org/officeDocument/2006/relationships/slideLayout" Target="../slideLayouts/slideLayout264.xml"/><Relationship Id="rId21" Type="http://schemas.openxmlformats.org/officeDocument/2006/relationships/tags" Target="../tags/tag40.xml"/><Relationship Id="rId7" Type="http://schemas.openxmlformats.org/officeDocument/2006/relationships/slideLayout" Target="../slideLayouts/slideLayout268.xml"/><Relationship Id="rId12" Type="http://schemas.openxmlformats.org/officeDocument/2006/relationships/slideLayout" Target="../slideLayouts/slideLayout273.xml"/><Relationship Id="rId17" Type="http://schemas.openxmlformats.org/officeDocument/2006/relationships/slideLayout" Target="../slideLayouts/slideLayout278.xml"/><Relationship Id="rId25" Type="http://schemas.openxmlformats.org/officeDocument/2006/relationships/image" Target="../media/image28.png"/><Relationship Id="rId2" Type="http://schemas.openxmlformats.org/officeDocument/2006/relationships/slideLayout" Target="../slideLayouts/slideLayout263.xml"/><Relationship Id="rId16" Type="http://schemas.openxmlformats.org/officeDocument/2006/relationships/slideLayout" Target="../slideLayouts/slideLayout277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262.xml"/><Relationship Id="rId6" Type="http://schemas.openxmlformats.org/officeDocument/2006/relationships/slideLayout" Target="../slideLayouts/slideLayout267.xml"/><Relationship Id="rId11" Type="http://schemas.openxmlformats.org/officeDocument/2006/relationships/slideLayout" Target="../slideLayouts/slideLayout272.xml"/><Relationship Id="rId24" Type="http://schemas.openxmlformats.org/officeDocument/2006/relationships/image" Target="../media/image27.emf"/><Relationship Id="rId5" Type="http://schemas.openxmlformats.org/officeDocument/2006/relationships/slideLayout" Target="../slideLayouts/slideLayout266.xml"/><Relationship Id="rId15" Type="http://schemas.openxmlformats.org/officeDocument/2006/relationships/slideLayout" Target="../slideLayouts/slideLayout276.xml"/><Relationship Id="rId23" Type="http://schemas.openxmlformats.org/officeDocument/2006/relationships/oleObject" Target="../embeddings/oleObject18.bin"/><Relationship Id="rId10" Type="http://schemas.openxmlformats.org/officeDocument/2006/relationships/slideLayout" Target="../slideLayouts/slideLayout271.xml"/><Relationship Id="rId19" Type="http://schemas.openxmlformats.org/officeDocument/2006/relationships/slideLayout" Target="../slideLayouts/slideLayout280.xml"/><Relationship Id="rId4" Type="http://schemas.openxmlformats.org/officeDocument/2006/relationships/slideLayout" Target="../slideLayouts/slideLayout265.xml"/><Relationship Id="rId9" Type="http://schemas.openxmlformats.org/officeDocument/2006/relationships/slideLayout" Target="../slideLayouts/slideLayout270.xml"/><Relationship Id="rId14" Type="http://schemas.openxmlformats.org/officeDocument/2006/relationships/slideLayout" Target="../slideLayouts/slideLayout275.xml"/><Relationship Id="rId22" Type="http://schemas.openxmlformats.org/officeDocument/2006/relationships/tags" Target="../tags/tag4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285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84.xml"/><Relationship Id="rId9" Type="http://schemas.openxmlformats.org/officeDocument/2006/relationships/tags" Target="../tags/tag6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slideLayout" Target="../slideLayouts/slideLayout290.xml"/><Relationship Id="rId7" Type="http://schemas.openxmlformats.org/officeDocument/2006/relationships/tags" Target="../tags/tag69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theme" Target="../theme/theme13.xml"/><Relationship Id="rId11" Type="http://schemas.openxmlformats.org/officeDocument/2006/relationships/image" Target="../media/image32.png"/><Relationship Id="rId5" Type="http://schemas.openxmlformats.org/officeDocument/2006/relationships/slideLayout" Target="../slideLayouts/slideLayout29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91.xml"/><Relationship Id="rId9" Type="http://schemas.openxmlformats.org/officeDocument/2006/relationships/oleObject" Target="../embeddings/oleObject21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0.xml"/><Relationship Id="rId13" Type="http://schemas.openxmlformats.org/officeDocument/2006/relationships/tags" Target="../tags/tag76.xml"/><Relationship Id="rId3" Type="http://schemas.openxmlformats.org/officeDocument/2006/relationships/slideLayout" Target="../slideLayouts/slideLayout295.xml"/><Relationship Id="rId7" Type="http://schemas.openxmlformats.org/officeDocument/2006/relationships/slideLayout" Target="../slideLayouts/slideLayout299.xml"/><Relationship Id="rId12" Type="http://schemas.openxmlformats.org/officeDocument/2006/relationships/theme" Target="../theme/theme14.xml"/><Relationship Id="rId17" Type="http://schemas.openxmlformats.org/officeDocument/2006/relationships/image" Target="../media/image35.png"/><Relationship Id="rId2" Type="http://schemas.openxmlformats.org/officeDocument/2006/relationships/slideLayout" Target="../slideLayouts/slideLayout294.xml"/><Relationship Id="rId16" Type="http://schemas.openxmlformats.org/officeDocument/2006/relationships/image" Target="../media/image34.emf"/><Relationship Id="rId1" Type="http://schemas.openxmlformats.org/officeDocument/2006/relationships/slideLayout" Target="../slideLayouts/slideLayout293.xml"/><Relationship Id="rId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303.xml"/><Relationship Id="rId5" Type="http://schemas.openxmlformats.org/officeDocument/2006/relationships/slideLayout" Target="../slideLayouts/slideLayout297.xml"/><Relationship Id="rId15" Type="http://schemas.openxmlformats.org/officeDocument/2006/relationships/oleObject" Target="../embeddings/oleObject25.bin"/><Relationship Id="rId10" Type="http://schemas.openxmlformats.org/officeDocument/2006/relationships/slideLayout" Target="../slideLayouts/slideLayout302.xml"/><Relationship Id="rId4" Type="http://schemas.openxmlformats.org/officeDocument/2006/relationships/slideLayout" Target="../slideLayouts/slideLayout296.xml"/><Relationship Id="rId9" Type="http://schemas.openxmlformats.org/officeDocument/2006/relationships/slideLayout" Target="../slideLayouts/slideLayout301.xml"/><Relationship Id="rId14" Type="http://schemas.openxmlformats.org/officeDocument/2006/relationships/tags" Target="../tags/tag7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9.sv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8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34" Type="http://schemas.openxmlformats.org/officeDocument/2006/relationships/image" Target="../media/image7.png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image" Target="../media/image6.emf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oleObject" Target="../embeddings/oleObject8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image" Target="../media/image9.svg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theme" Target="../theme/theme3.xml"/><Relationship Id="rId35" Type="http://schemas.openxmlformats.org/officeDocument/2006/relationships/image" Target="../media/image8.png"/><Relationship Id="rId8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46.xml"/><Relationship Id="rId21" Type="http://schemas.openxmlformats.org/officeDocument/2006/relationships/oleObject" Target="../embeddings/oleObject10.bin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image" Target="../media/image12.png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image" Target="../media/image9.svg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53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image" Target="../media/image11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9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82.xml"/><Relationship Id="rId34" Type="http://schemas.openxmlformats.org/officeDocument/2006/relationships/slideLayout" Target="../slideLayouts/slideLayout95.xml"/><Relationship Id="rId42" Type="http://schemas.openxmlformats.org/officeDocument/2006/relationships/slideLayout" Target="../slideLayouts/slideLayout103.xml"/><Relationship Id="rId47" Type="http://schemas.openxmlformats.org/officeDocument/2006/relationships/slideLayout" Target="../slideLayouts/slideLayout108.xml"/><Relationship Id="rId50" Type="http://schemas.openxmlformats.org/officeDocument/2006/relationships/tags" Target="../tags/tag18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93.xml"/><Relationship Id="rId37" Type="http://schemas.openxmlformats.org/officeDocument/2006/relationships/slideLayout" Target="../slideLayouts/slideLayout98.xml"/><Relationship Id="rId40" Type="http://schemas.openxmlformats.org/officeDocument/2006/relationships/slideLayout" Target="../slideLayouts/slideLayout101.xml"/><Relationship Id="rId45" Type="http://schemas.openxmlformats.org/officeDocument/2006/relationships/slideLayout" Target="../slideLayouts/slideLayout106.xml"/><Relationship Id="rId53" Type="http://schemas.openxmlformats.org/officeDocument/2006/relationships/image" Target="../media/image17.png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4" Type="http://schemas.openxmlformats.org/officeDocument/2006/relationships/slideLayout" Target="../slideLayouts/slideLayout105.xml"/><Relationship Id="rId52" Type="http://schemas.openxmlformats.org/officeDocument/2006/relationships/image" Target="../media/image6.emf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35" Type="http://schemas.openxmlformats.org/officeDocument/2006/relationships/slideLayout" Target="../slideLayouts/slideLayout96.xml"/><Relationship Id="rId43" Type="http://schemas.openxmlformats.org/officeDocument/2006/relationships/slideLayout" Target="../slideLayouts/slideLayout104.xml"/><Relationship Id="rId48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69.xml"/><Relationship Id="rId51" Type="http://schemas.openxmlformats.org/officeDocument/2006/relationships/oleObject" Target="../embeddings/oleObject8.bin"/><Relationship Id="rId3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94.xml"/><Relationship Id="rId38" Type="http://schemas.openxmlformats.org/officeDocument/2006/relationships/slideLayout" Target="../slideLayouts/slideLayout99.xml"/><Relationship Id="rId4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81.xml"/><Relationship Id="rId41" Type="http://schemas.openxmlformats.org/officeDocument/2006/relationships/slideLayout" Target="../slideLayouts/slideLayout102.xml"/><Relationship Id="rId54" Type="http://schemas.openxmlformats.org/officeDocument/2006/relationships/image" Target="../media/image18.pn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36" Type="http://schemas.openxmlformats.org/officeDocument/2006/relationships/slideLayout" Target="../slideLayouts/slideLayout97.xml"/><Relationship Id="rId4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slideLayout" Target="../slideLayouts/slideLayout135.xml"/><Relationship Id="rId39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30.xml"/><Relationship Id="rId34" Type="http://schemas.openxmlformats.org/officeDocument/2006/relationships/slideLayout" Target="../slideLayouts/slideLayout143.xml"/><Relationship Id="rId42" Type="http://schemas.openxmlformats.org/officeDocument/2006/relationships/slideLayout" Target="../slideLayouts/slideLayout151.xml"/><Relationship Id="rId47" Type="http://schemas.openxmlformats.org/officeDocument/2006/relationships/slideLayout" Target="../slideLayouts/slideLayout156.xml"/><Relationship Id="rId50" Type="http://schemas.openxmlformats.org/officeDocument/2006/relationships/oleObject" Target="../embeddings/oleObject11.bin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40" Type="http://schemas.openxmlformats.org/officeDocument/2006/relationships/slideLayout" Target="../slideLayouts/slideLayout149.xml"/><Relationship Id="rId45" Type="http://schemas.openxmlformats.org/officeDocument/2006/relationships/slideLayout" Target="../slideLayouts/slideLayout154.xml"/><Relationship Id="rId53" Type="http://schemas.openxmlformats.org/officeDocument/2006/relationships/image" Target="../media/image12.png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53.xml"/><Relationship Id="rId52" Type="http://schemas.openxmlformats.org/officeDocument/2006/relationships/image" Target="../media/image20.png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43" Type="http://schemas.openxmlformats.org/officeDocument/2006/relationships/slideLayout" Target="../slideLayouts/slideLayout152.xml"/><Relationship Id="rId48" Type="http://schemas.openxmlformats.org/officeDocument/2006/relationships/theme" Target="../theme/theme6.xml"/><Relationship Id="rId8" Type="http://schemas.openxmlformats.org/officeDocument/2006/relationships/slideLayout" Target="../slideLayouts/slideLayout117.xml"/><Relationship Id="rId51" Type="http://schemas.openxmlformats.org/officeDocument/2006/relationships/image" Target="../media/image19.emf"/><Relationship Id="rId3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4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49" Type="http://schemas.openxmlformats.org/officeDocument/2006/relationships/tags" Target="../tags/tag2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image" Target="../media/image20.png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heme" Target="../theme/theme8.xml"/><Relationship Id="rId7" Type="http://schemas.openxmlformats.org/officeDocument/2006/relationships/image" Target="../media/image22.emf"/><Relationship Id="rId2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83.xml"/><Relationship Id="rId6" Type="http://schemas.openxmlformats.org/officeDocument/2006/relationships/oleObject" Target="../embeddings/oleObject14.bin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7.xml"/><Relationship Id="rId18" Type="http://schemas.openxmlformats.org/officeDocument/2006/relationships/slideLayout" Target="../slideLayouts/slideLayout202.xml"/><Relationship Id="rId26" Type="http://schemas.openxmlformats.org/officeDocument/2006/relationships/slideLayout" Target="../slideLayouts/slideLayout210.xml"/><Relationship Id="rId39" Type="http://schemas.openxmlformats.org/officeDocument/2006/relationships/slideLayout" Target="../slideLayouts/slideLayout223.xml"/><Relationship Id="rId21" Type="http://schemas.openxmlformats.org/officeDocument/2006/relationships/slideLayout" Target="../slideLayouts/slideLayout205.xml"/><Relationship Id="rId34" Type="http://schemas.openxmlformats.org/officeDocument/2006/relationships/slideLayout" Target="../slideLayouts/slideLayout218.xml"/><Relationship Id="rId42" Type="http://schemas.openxmlformats.org/officeDocument/2006/relationships/tags" Target="../tags/tag30.xml"/><Relationship Id="rId7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86.xml"/><Relationship Id="rId16" Type="http://schemas.openxmlformats.org/officeDocument/2006/relationships/slideLayout" Target="../slideLayouts/slideLayout200.xml"/><Relationship Id="rId29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24" Type="http://schemas.openxmlformats.org/officeDocument/2006/relationships/slideLayout" Target="../slideLayouts/slideLayout208.xml"/><Relationship Id="rId32" Type="http://schemas.openxmlformats.org/officeDocument/2006/relationships/slideLayout" Target="../slideLayouts/slideLayout216.xml"/><Relationship Id="rId37" Type="http://schemas.openxmlformats.org/officeDocument/2006/relationships/slideLayout" Target="../slideLayouts/slideLayout221.xml"/><Relationship Id="rId40" Type="http://schemas.openxmlformats.org/officeDocument/2006/relationships/slideLayout" Target="../slideLayouts/slideLayout224.xml"/><Relationship Id="rId45" Type="http://schemas.openxmlformats.org/officeDocument/2006/relationships/image" Target="../media/image20.png"/><Relationship Id="rId5" Type="http://schemas.openxmlformats.org/officeDocument/2006/relationships/slideLayout" Target="../slideLayouts/slideLayout189.xml"/><Relationship Id="rId15" Type="http://schemas.openxmlformats.org/officeDocument/2006/relationships/slideLayout" Target="../slideLayouts/slideLayout199.xml"/><Relationship Id="rId23" Type="http://schemas.openxmlformats.org/officeDocument/2006/relationships/slideLayout" Target="../slideLayouts/slideLayout207.xml"/><Relationship Id="rId28" Type="http://schemas.openxmlformats.org/officeDocument/2006/relationships/slideLayout" Target="../slideLayouts/slideLayout212.xml"/><Relationship Id="rId36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194.xml"/><Relationship Id="rId19" Type="http://schemas.openxmlformats.org/officeDocument/2006/relationships/slideLayout" Target="../slideLayouts/slideLayout203.xml"/><Relationship Id="rId31" Type="http://schemas.openxmlformats.org/officeDocument/2006/relationships/slideLayout" Target="../slideLayouts/slideLayout215.xml"/><Relationship Id="rId44" Type="http://schemas.openxmlformats.org/officeDocument/2006/relationships/image" Target="../media/image19.emf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slideLayout" Target="../slideLayouts/slideLayout198.xml"/><Relationship Id="rId22" Type="http://schemas.openxmlformats.org/officeDocument/2006/relationships/slideLayout" Target="../slideLayouts/slideLayout206.xml"/><Relationship Id="rId27" Type="http://schemas.openxmlformats.org/officeDocument/2006/relationships/slideLayout" Target="../slideLayouts/slideLayout211.xml"/><Relationship Id="rId30" Type="http://schemas.openxmlformats.org/officeDocument/2006/relationships/slideLayout" Target="../slideLayouts/slideLayout214.xml"/><Relationship Id="rId35" Type="http://schemas.openxmlformats.org/officeDocument/2006/relationships/slideLayout" Target="../slideLayouts/slideLayout219.xml"/><Relationship Id="rId43" Type="http://schemas.openxmlformats.org/officeDocument/2006/relationships/oleObject" Target="../embeddings/oleObject11.bin"/><Relationship Id="rId8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6.xml"/><Relationship Id="rId17" Type="http://schemas.openxmlformats.org/officeDocument/2006/relationships/slideLayout" Target="../slideLayouts/slideLayout201.xml"/><Relationship Id="rId25" Type="http://schemas.openxmlformats.org/officeDocument/2006/relationships/slideLayout" Target="../slideLayouts/slideLayout209.xml"/><Relationship Id="rId33" Type="http://schemas.openxmlformats.org/officeDocument/2006/relationships/slideLayout" Target="../slideLayouts/slideLayout217.xml"/><Relationship Id="rId38" Type="http://schemas.openxmlformats.org/officeDocument/2006/relationships/slideLayout" Target="../slideLayouts/slideLayout222.xml"/><Relationship Id="rId46" Type="http://schemas.openxmlformats.org/officeDocument/2006/relationships/image" Target="../media/image24.png"/><Relationship Id="rId20" Type="http://schemas.openxmlformats.org/officeDocument/2006/relationships/slideLayout" Target="../slideLayouts/slideLayout204.xml"/><Relationship Id="rId4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02CEC8C7-CC3F-4E6E-9D43-5F6394F3E4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3026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9" imgW="347" imgH="348" progId="TCLayout.ActiveDocument.1">
                  <p:embed/>
                </p:oleObj>
              </mc:Choice>
              <mc:Fallback>
                <p:oleObj name="Diapositiva think-cell" r:id="rId9" imgW="347" imgH="348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02CEC8C7-CC3F-4E6E-9D43-5F6394F3E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E2336290-7162-409C-99D4-8651EDCF80D1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D004A04-23FE-413A-B2B1-116905BFA3BE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3F96BAF2-2ACB-4182-8DBF-74DA4D08AE01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D8E7DFEB-4232-4129-A629-46EC9D8917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2611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667632A4-0760-4CBC-A3D4-1CFDE34409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it-IT" smtClean="0"/>
              <a:t>24/04/2026</a:t>
            </a:fld>
            <a:endParaRPr lang="it-IT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65080E08-982A-4475-AFC5-517EA5E24B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-IT" dirty="0"/>
              <a:t>|  </a:t>
            </a:r>
            <a:r>
              <a:rPr lang="it-IT" dirty="0" err="1"/>
              <a:t>Optionale</a:t>
            </a:r>
            <a:r>
              <a:rPr lang="it-IT" dirty="0"/>
              <a:t> </a:t>
            </a:r>
            <a:r>
              <a:rPr lang="it-IT" dirty="0" err="1"/>
              <a:t>Zusatzinformationen</a:t>
            </a:r>
            <a:endParaRPr lang="it-IT" dirty="0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F36D1DEA-EB50-48AD-A5B7-6211AEB55C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69953FA8-7320-4389-8473-636297A22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 err="1"/>
              <a:t>Titelmasterformat</a:t>
            </a:r>
            <a:r>
              <a:rPr lang="it-IT" dirty="0"/>
              <a:t> </a:t>
            </a:r>
            <a:r>
              <a:rPr lang="it-IT" dirty="0" err="1"/>
              <a:t>durch</a:t>
            </a:r>
            <a:r>
              <a:rPr lang="it-IT" dirty="0"/>
              <a:t> </a:t>
            </a:r>
            <a:r>
              <a:rPr lang="it-IT" dirty="0" err="1"/>
              <a:t>Klicken</a:t>
            </a:r>
            <a:r>
              <a:rPr lang="it-IT" dirty="0"/>
              <a:t> </a:t>
            </a:r>
            <a:r>
              <a:rPr lang="it-IT" dirty="0" err="1"/>
              <a:t>bearbeiten</a:t>
            </a:r>
            <a:endParaRPr lang="it-IT" dirty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C25B751-D228-4E26-B9FE-4327002BE4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master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rbeiten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15963" marR="0" lvl="1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081088" marR="0" lvl="2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433513" marR="0" lvl="3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8A3AC68-3EBC-8AA0-296E-C9437F13A3D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008615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4106" r:id="rId3"/>
    <p:sldLayoutId id="2147484107" r:id="rId4"/>
    <p:sldLayoutId id="2147484108" r:id="rId5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base" latinLnBrk="0" hangingPunct="1">
        <a:lnSpc>
          <a:spcPct val="110000"/>
        </a:lnSpc>
        <a:spcBef>
          <a:spcPts val="1800"/>
        </a:spcBef>
        <a:spcAft>
          <a:spcPct val="0"/>
        </a:spcAft>
        <a:buClr>
          <a:srgbClr val="65AC1E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5963" marR="0" indent="-358775" algn="l" defTabSz="914400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rgbClr val="65AC1E"/>
        </a:buClr>
        <a:buSzPct val="90000"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81088" marR="0" indent="-365125" algn="l" defTabSz="914400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65AC1E"/>
        </a:buClr>
        <a:buSzPct val="95000"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513" marR="0" indent="-358775" algn="l" defTabSz="914400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rgbClr val="65AC1E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36">
          <p15:clr>
            <a:srgbClr val="F26B43"/>
          </p15:clr>
        </p15:guide>
        <p15:guide id="7" orient="horz" pos="4183">
          <p15:clr>
            <a:srgbClr val="F26B43"/>
          </p15:clr>
        </p15:guide>
        <p15:guide id="8" orient="horz" pos="4047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pos="143">
          <p15:clr>
            <a:srgbClr val="F26B43"/>
          </p15:clr>
        </p15:guide>
        <p15:guide id="11" orient="horz" pos="3838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65307F86-2000-4C87-9B03-2B20D648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841082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0" imgW="499" imgH="499" progId="TCLayout.ActiveDocument.1">
                  <p:embed/>
                </p:oleObj>
              </mc:Choice>
              <mc:Fallback>
                <p:oleObj name="think-cell Folie" r:id="rId40" imgW="499" imgH="49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65307F86-2000-4C87-9B03-2B20D648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7823" y="6516000"/>
            <a:ext cx="7918969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512" y="6516000"/>
            <a:ext cx="467939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372" y="1965600"/>
            <a:ext cx="1175247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8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50B5473-0901-5C99-33B4-2608A087E93D}"/>
              </a:ext>
            </a:extLst>
          </p:cNvPr>
          <p:cNvGrpSpPr/>
          <p:nvPr userDrawn="1"/>
        </p:nvGrpSpPr>
        <p:grpSpPr>
          <a:xfrm>
            <a:off x="9599534" y="6098537"/>
            <a:ext cx="2592466" cy="540002"/>
            <a:chOff x="9596807" y="6092573"/>
            <a:chExt cx="2592803" cy="540002"/>
          </a:xfrm>
        </p:grpSpPr>
        <p:sp>
          <p:nvSpPr>
            <p:cNvPr id="14" name="Rechteck 9">
              <a:extLst>
                <a:ext uri="{FF2B5EF4-FFF2-40B4-BE49-F238E27FC236}">
                  <a16:creationId xmlns:a16="http://schemas.microsoft.com/office/drawing/2014/main" id="{2522B86B-0FBB-DFB9-BA02-851312261EB8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5" name="Grafik 11">
              <a:extLst>
                <a:ext uri="{FF2B5EF4-FFF2-40B4-BE49-F238E27FC236}">
                  <a16:creationId xmlns:a16="http://schemas.microsoft.com/office/drawing/2014/main" id="{094B1333-07D4-B272-00E2-DA5BCA801F3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2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rcRect/>
            <a:stretch/>
          </p:blipFill>
          <p:spPr>
            <a:xfrm>
              <a:off x="9596807" y="6092573"/>
              <a:ext cx="1085092" cy="539999"/>
            </a:xfrm>
            <a:prstGeom prst="rect">
              <a:avLst/>
            </a:prstGeom>
          </p:spPr>
        </p:pic>
      </p:grpSp>
      <p:pic>
        <p:nvPicPr>
          <p:cNvPr id="7" name="Immagine 6" descr="Immagine che contiene Carattere, Elementi grafici, grafica, schermata&#10;&#10;Il contenuto generato dall'IA potrebbe non essere corretto.">
            <a:extLst>
              <a:ext uri="{FF2B5EF4-FFF2-40B4-BE49-F238E27FC236}">
                <a16:creationId xmlns:a16="http://schemas.microsoft.com/office/drawing/2014/main" id="{E505CC6B-E78B-7CF2-D08E-8120E69D52D1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7585" y="473108"/>
            <a:ext cx="1327257" cy="296337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F72B29FF-3234-7B4B-32FD-0B745339AF8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586041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8" r:id="rId1"/>
    <p:sldLayoutId id="2147485269" r:id="rId2"/>
    <p:sldLayoutId id="2147485270" r:id="rId3"/>
    <p:sldLayoutId id="2147485273" r:id="rId4"/>
    <p:sldLayoutId id="2147485274" r:id="rId5"/>
    <p:sldLayoutId id="2147485275" r:id="rId6"/>
    <p:sldLayoutId id="2147485654" r:id="rId7"/>
    <p:sldLayoutId id="2147485655" r:id="rId8"/>
    <p:sldLayoutId id="2147485656" r:id="rId9"/>
    <p:sldLayoutId id="2147485660" r:id="rId10"/>
    <p:sldLayoutId id="2147485661" r:id="rId11"/>
    <p:sldLayoutId id="2147485662" r:id="rId12"/>
    <p:sldLayoutId id="2147485663" r:id="rId13"/>
    <p:sldLayoutId id="2147485769" r:id="rId14"/>
    <p:sldLayoutId id="2147485770" r:id="rId15"/>
    <p:sldLayoutId id="2147485771" r:id="rId16"/>
    <p:sldLayoutId id="2147485772" r:id="rId17"/>
    <p:sldLayoutId id="2147485773" r:id="rId18"/>
    <p:sldLayoutId id="2147485774" r:id="rId19"/>
    <p:sldLayoutId id="2147485775" r:id="rId20"/>
    <p:sldLayoutId id="2147485776" r:id="rId21"/>
    <p:sldLayoutId id="2147485849" r:id="rId22"/>
    <p:sldLayoutId id="2147485850" r:id="rId23"/>
    <p:sldLayoutId id="2147485851" r:id="rId24"/>
    <p:sldLayoutId id="2147485852" r:id="rId25"/>
    <p:sldLayoutId id="2147485853" r:id="rId26"/>
    <p:sldLayoutId id="2147485854" r:id="rId27"/>
    <p:sldLayoutId id="2147485855" r:id="rId28"/>
    <p:sldLayoutId id="2147485856" r:id="rId29"/>
    <p:sldLayoutId id="2147485857" r:id="rId30"/>
    <p:sldLayoutId id="2147485858" r:id="rId31"/>
    <p:sldLayoutId id="2147485860" r:id="rId32"/>
    <p:sldLayoutId id="2147485861" r:id="rId33"/>
    <p:sldLayoutId id="2147485862" r:id="rId34"/>
    <p:sldLayoutId id="2147485863" r:id="rId35"/>
    <p:sldLayoutId id="2147485864" r:id="rId36"/>
    <p:sldLayoutId id="214748586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1932" indent="-341932" algn="l" defTabSz="914218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676" indent="-266346" algn="l" defTabSz="914218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99820" indent="-277144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16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pos="613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C6C657FD-66EC-43EA-9156-FC29CC4F4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6922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482" imgH="482" progId="TCLayout.ActiveDocument.1">
                  <p:embed/>
                </p:oleObj>
              </mc:Choice>
              <mc:Fallback>
                <p:oleObj name="Diapositiva think-cell" r:id="rId23" imgW="482" imgH="482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C6C657FD-66EC-43EA-9156-FC29CC4F4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E94E7FEC-6C64-43AC-8629-D5AF31D1CAD1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 userDrawn="1"/>
        </p:nvGrpSpPr>
        <p:grpSpPr>
          <a:xfrm>
            <a:off x="9597611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 userDrawn="1"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4.2026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 userDrawn="1"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 userDrawn="1"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1800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B2ED9C27-3BB2-4F96-9471-64B44D66C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1" y="1964565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6A871FE7-C1BE-35A1-78E3-BB8E1A076632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047645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8" r:id="rId1"/>
    <p:sldLayoutId id="2147485479" r:id="rId2"/>
    <p:sldLayoutId id="2147485480" r:id="rId3"/>
    <p:sldLayoutId id="2147485481" r:id="rId4"/>
    <p:sldLayoutId id="2147485482" r:id="rId5"/>
    <p:sldLayoutId id="2147485483" r:id="rId6"/>
    <p:sldLayoutId id="2147485484" r:id="rId7"/>
    <p:sldLayoutId id="2147485485" r:id="rId8"/>
    <p:sldLayoutId id="2147485486" r:id="rId9"/>
    <p:sldLayoutId id="2147485487" r:id="rId10"/>
    <p:sldLayoutId id="2147485488" r:id="rId11"/>
    <p:sldLayoutId id="2147485489" r:id="rId12"/>
    <p:sldLayoutId id="2147485921" r:id="rId13"/>
    <p:sldLayoutId id="2147485922" r:id="rId14"/>
    <p:sldLayoutId id="2147485923" r:id="rId15"/>
    <p:sldLayoutId id="2147485924" r:id="rId16"/>
    <p:sldLayoutId id="2147485925" r:id="rId17"/>
    <p:sldLayoutId id="2147485927" r:id="rId18"/>
    <p:sldLayoutId id="2147485928" r:id="rId19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marR="0" indent="-342900" algn="l" defTabSz="914400" rtl="0" eaLnBrk="1" fontAlgn="base" latinLnBrk="0" hangingPunct="1">
        <a:lnSpc>
          <a:spcPct val="110000"/>
        </a:lnSpc>
        <a:spcBef>
          <a:spcPts val="0"/>
        </a:spcBef>
        <a:spcAft>
          <a:spcPct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5963" marR="0" indent="-358775" algn="l" defTabSz="914400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chemeClr val="accent1"/>
        </a:buClr>
        <a:buSzPct val="90000"/>
        <a:buFont typeface="Wingdings 3" panose="05040102010807070707" pitchFamily="18" charset="2"/>
        <a:buChar char="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81088" marR="0" indent="-365125" algn="l" defTabSz="914400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SzPct val="95000"/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3513" marR="0" indent="-358775" algn="l" defTabSz="914400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Tx/>
        <a:buFont typeface="Arial" panose="020B0604020202020204" pitchFamily="34" charset="0"/>
        <a:buChar char="−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4" pos="143">
          <p15:clr>
            <a:srgbClr val="F26B43"/>
          </p15:clr>
        </p15:guide>
        <p15:guide id="5" pos="7537">
          <p15:clr>
            <a:srgbClr val="F26B43"/>
          </p15:clr>
        </p15:guide>
        <p15:guide id="10" orient="horz" pos="1275">
          <p15:clr>
            <a:srgbClr val="F26B43"/>
          </p15:clr>
        </p15:guide>
        <p15:guide id="11" orient="horz" pos="4178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77E182B-3B04-4773-8A12-9BD1F36838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37084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344" imgH="344" progId="TCLayout.ActiveDocument.1">
                  <p:embed/>
                </p:oleObj>
              </mc:Choice>
              <mc:Fallback>
                <p:oleObj name="Diapositiva de think-cell" r:id="rId10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77E182B-3B04-4773-8A12-9BD1F36838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8D3D1F21-5FAB-2E41-A186-0C1D9A231C45}"/>
              </a:ext>
            </a:extLst>
          </p:cNvPr>
          <p:cNvGrpSpPr/>
          <p:nvPr userDrawn="1"/>
        </p:nvGrpSpPr>
        <p:grpSpPr>
          <a:xfrm>
            <a:off x="9598076" y="6086700"/>
            <a:ext cx="2592337" cy="540000"/>
            <a:chOff x="9597274" y="5552575"/>
            <a:chExt cx="2592337" cy="540000"/>
          </a:xfrm>
        </p:grpSpPr>
        <p:sp>
          <p:nvSpPr>
            <p:cNvPr id="9" name="Rechteck 9">
              <a:extLst>
                <a:ext uri="{FF2B5EF4-FFF2-40B4-BE49-F238E27FC236}">
                  <a16:creationId xmlns:a16="http://schemas.microsoft.com/office/drawing/2014/main" id="{CAAC65BB-B67E-1240-871E-4CC6DAAAF931}"/>
                </a:ext>
              </a:extLst>
            </p:cNvPr>
            <p:cNvSpPr/>
            <p:nvPr/>
          </p:nvSpPr>
          <p:spPr>
            <a:xfrm>
              <a:off x="9597274" y="5552575"/>
              <a:ext cx="2592337" cy="540000"/>
            </a:xfrm>
            <a:prstGeom prst="rect">
              <a:avLst/>
            </a:prstGeom>
            <a:solidFill>
              <a:srgbClr val="65AC1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0" name="Grafik 10">
              <a:extLst>
                <a:ext uri="{FF2B5EF4-FFF2-40B4-BE49-F238E27FC236}">
                  <a16:creationId xmlns:a16="http://schemas.microsoft.com/office/drawing/2014/main" id="{97684238-4D9A-5948-9B22-B1987A434E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8218" y="5687020"/>
              <a:ext cx="808496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667632A4-0760-4CBC-A3D4-1CFDE34409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65080E08-982A-4475-AFC5-517EA5E24B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Axalion Global Messaging Workshops | November 2021</a:t>
            </a:r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69953FA8-7320-4389-8473-636297A22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C25B751-D228-4E26-B9FE-4327002BE4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38D3166A-6FF8-3C3C-C64B-EFC3DC6E100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6333" y="336420"/>
            <a:ext cx="1815631" cy="608304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2A1F0442-C314-58C5-6B3A-1BADBD9160A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960363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24" r:id="rId1"/>
    <p:sldLayoutId id="2147485625" r:id="rId2"/>
    <p:sldLayoutId id="2147485626" r:id="rId3"/>
    <p:sldLayoutId id="2147485627" r:id="rId4"/>
    <p:sldLayoutId id="2147485628" r:id="rId5"/>
    <p:sldLayoutId id="2147485629" r:id="rId6"/>
    <p:sldLayoutId id="2147485630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866" marR="0" indent="-342866" algn="l" defTabSz="914309" rtl="0" eaLnBrk="1" fontAlgn="base" latinLnBrk="0" hangingPunct="1">
        <a:lnSpc>
          <a:spcPct val="110000"/>
        </a:lnSpc>
        <a:spcBef>
          <a:spcPts val="1800"/>
        </a:spcBef>
        <a:spcAft>
          <a:spcPct val="0"/>
        </a:spcAft>
        <a:buClr>
          <a:srgbClr val="65AC1E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5891" marR="0" indent="-358739" algn="l" defTabSz="914309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rgbClr val="65AC1E"/>
        </a:buClr>
        <a:buSzPct val="90000"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80980" marR="0" indent="-365088" algn="l" defTabSz="914309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65AC1E"/>
        </a:buClr>
        <a:buSzPct val="95000"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370" marR="0" indent="-358739" algn="l" defTabSz="914309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rgbClr val="65AC1E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36">
          <p15:clr>
            <a:srgbClr val="F26B43"/>
          </p15:clr>
        </p15:guide>
        <p15:guide id="7" orient="horz" pos="4183">
          <p15:clr>
            <a:srgbClr val="F26B43"/>
          </p15:clr>
        </p15:guide>
        <p15:guide id="8" orient="horz" pos="4047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pos="143">
          <p15:clr>
            <a:srgbClr val="F26B43"/>
          </p15:clr>
        </p15:guide>
        <p15:guide id="11" orient="horz" pos="3838">
          <p15:clr>
            <a:srgbClr val="F26B43"/>
          </p15:clr>
        </p15:guide>
        <p15:guide id="12" pos="613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02CEC8C7-CC3F-4E6E-9D43-5F6394F3E4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3026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9" imgW="347" imgH="348" progId="TCLayout.ActiveDocument.1">
                  <p:embed/>
                </p:oleObj>
              </mc:Choice>
              <mc:Fallback>
                <p:oleObj name="Diapositiva think-cell" r:id="rId9" imgW="347" imgH="348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02CEC8C7-CC3F-4E6E-9D43-5F6394F3E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E2336290-7162-409C-99D4-8651EDCF80D1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D004A04-23FE-413A-B2B1-116905BFA3BE}"/>
              </a:ext>
            </a:extLst>
          </p:cNvPr>
          <p:cNvGrpSpPr/>
          <p:nvPr userDrawn="1"/>
        </p:nvGrpSpPr>
        <p:grpSpPr>
          <a:xfrm>
            <a:off x="9597611" y="6092575"/>
            <a:ext cx="2592000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3F96BAF2-2ACB-4182-8DBF-74DA4D08AE01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00" dirty="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D8E7DFEB-4232-4129-A629-46EC9D8917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2611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667632A4-0760-4CBC-A3D4-1CFDE34409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it-IT" smtClean="0"/>
              <a:t>24/04/2026</a:t>
            </a:fld>
            <a:endParaRPr lang="it-IT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65080E08-982A-4475-AFC5-517EA5E24B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it-IT"/>
              <a:t>| Optionale Zusatzinformationen</a:t>
            </a:r>
            <a:endParaRPr lang="it-IT" dirty="0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F36D1DEA-EB50-48AD-A5B7-6211AEB55C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69953FA8-7320-4389-8473-636297A22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dirty="0" err="1"/>
              <a:t>Titelmasterformat durch Klicken bearbeiten</a:t>
            </a:r>
            <a:endParaRPr lang="it-IT" dirty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C25B751-D228-4E26-B9FE-4327002BE4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97CF4B3B-23AB-375D-61A5-EFDCAB2D715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357097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91" r:id="rId1"/>
    <p:sldLayoutId id="2147485992" r:id="rId2"/>
    <p:sldLayoutId id="2147485993" r:id="rId3"/>
    <p:sldLayoutId id="2147485994" r:id="rId4"/>
    <p:sldLayoutId id="2147485995" r:id="rId5"/>
  </p:sldLayoutIdLst>
  <p:hf hdr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866" marR="0" indent="-342866" algn="l" defTabSz="914309" rtl="0" eaLnBrk="1" fontAlgn="base" latinLnBrk="0" hangingPunct="1">
        <a:lnSpc>
          <a:spcPct val="110000"/>
        </a:lnSpc>
        <a:spcBef>
          <a:spcPts val="1800"/>
        </a:spcBef>
        <a:spcAft>
          <a:spcPct val="0"/>
        </a:spcAft>
        <a:buClr>
          <a:srgbClr val="65AC1E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5891" marR="0" indent="-358739" algn="l" defTabSz="914309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rgbClr val="65AC1E"/>
        </a:buClr>
        <a:buSzPct val="90000"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80980" marR="0" indent="-365088" algn="l" defTabSz="914309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65AC1E"/>
        </a:buClr>
        <a:buSzPct val="95000"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370" marR="0" indent="-358739" algn="l" defTabSz="914309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rgbClr val="65AC1E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36">
          <p15:clr>
            <a:srgbClr val="F26B43"/>
          </p15:clr>
        </p15:guide>
        <p15:guide id="7" orient="horz" pos="4183">
          <p15:clr>
            <a:srgbClr val="F26B43"/>
          </p15:clr>
        </p15:guide>
        <p15:guide id="8" orient="horz" pos="4047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pos="143">
          <p15:clr>
            <a:srgbClr val="F26B43"/>
          </p15:clr>
        </p15:guide>
        <p15:guide id="11" orient="horz" pos="3838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874C5580-8AB6-4E60-9D3C-1AC7D4466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03315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5" imgW="297" imgH="295" progId="TCLayout.ActiveDocument.1">
                  <p:embed/>
                </p:oleObj>
              </mc:Choice>
              <mc:Fallback>
                <p:oleObj name="Diapositiva think-cell" r:id="rId15" imgW="297" imgH="295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874C5580-8AB6-4E60-9D3C-1AC7D4466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C88200D7-F480-4267-B377-84B4B44B238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86" y="340135"/>
            <a:ext cx="11602401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C85081D7-FB44-4444-A7C4-277F86B334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0184" y="1476002"/>
            <a:ext cx="11602402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grpSp>
        <p:nvGrpSpPr>
          <p:cNvPr id="17" name="Gruppieren 10">
            <a:extLst>
              <a:ext uri="{FF2B5EF4-FFF2-40B4-BE49-F238E27FC236}">
                <a16:creationId xmlns:a16="http://schemas.microsoft.com/office/drawing/2014/main" id="{69129128-AB98-47CE-98F3-3A6786A83E3D}"/>
              </a:ext>
            </a:extLst>
          </p:cNvPr>
          <p:cNvGrpSpPr/>
          <p:nvPr userDrawn="1"/>
        </p:nvGrpSpPr>
        <p:grpSpPr>
          <a:xfrm>
            <a:off x="9598750" y="6091200"/>
            <a:ext cx="2591663" cy="540000"/>
            <a:chOff x="6538744" y="6082321"/>
            <a:chExt cx="2592000" cy="540000"/>
          </a:xfrm>
        </p:grpSpPr>
        <p:sp>
          <p:nvSpPr>
            <p:cNvPr id="18" name="Rechteck 12">
              <a:extLst>
                <a:ext uri="{FF2B5EF4-FFF2-40B4-BE49-F238E27FC236}">
                  <a16:creationId xmlns:a16="http://schemas.microsoft.com/office/drawing/2014/main" id="{03C4EE6E-9128-462C-9A33-850E5B188900}"/>
                </a:ext>
              </a:extLst>
            </p:cNvPr>
            <p:cNvSpPr/>
            <p:nvPr userDrawn="1"/>
          </p:nvSpPr>
          <p:spPr>
            <a:xfrm>
              <a:off x="6538744" y="6082321"/>
              <a:ext cx="2592000" cy="54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180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pic>
          <p:nvPicPr>
            <p:cNvPr id="19" name="Grafik 9">
              <a:extLst>
                <a:ext uri="{FF2B5EF4-FFF2-40B4-BE49-F238E27FC236}">
                  <a16:creationId xmlns:a16="http://schemas.microsoft.com/office/drawing/2014/main" id="{67B3BC59-7930-4CCE-A134-1D01A177D1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73744" y="6215521"/>
              <a:ext cx="810000" cy="293465"/>
            </a:xfrm>
            <a:prstGeom prst="rect">
              <a:avLst/>
            </a:prstGeom>
          </p:spPr>
        </p:pic>
      </p:grp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8EA71F36-E7E8-036B-C0AF-1E7E39FCF80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484504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66" r:id="rId1"/>
    <p:sldLayoutId id="2147486067" r:id="rId2"/>
    <p:sldLayoutId id="2147486068" r:id="rId3"/>
    <p:sldLayoutId id="2147486069" r:id="rId4"/>
    <p:sldLayoutId id="2147486070" r:id="rId5"/>
    <p:sldLayoutId id="2147486071" r:id="rId6"/>
    <p:sldLayoutId id="2147486072" r:id="rId7"/>
    <p:sldLayoutId id="2147486073" r:id="rId8"/>
    <p:sldLayoutId id="2147486074" r:id="rId9"/>
    <p:sldLayoutId id="2147486075" r:id="rId10"/>
    <p:sldLayoutId id="2147486076" r:id="rId11"/>
  </p:sldLayoutIdLst>
  <p:hf hdr="0"/>
  <p:txStyles>
    <p:titleStyle>
      <a:lvl1pPr algn="l" defTabSz="685662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tx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1932" indent="-341932" algn="l" defTabSz="685662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67006" indent="-199760" algn="l" defTabSz="685662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674866" indent="-207858" algn="l" defTabSz="685662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874626" indent="-199760" algn="l" defTabSz="685662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217456" indent="-199760" algn="l" defTabSz="685662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560288" indent="-199760" algn="l" defTabSz="685662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1903120" indent="-199760" algn="l" defTabSz="685662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245950" indent="-199760" algn="l" defTabSz="685662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2588782" indent="-199760" algn="l" defTabSz="685662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68566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2" algn="l" defTabSz="68566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62" algn="l" defTabSz="68566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94" algn="l" defTabSz="68566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6" algn="l" defTabSz="68566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58" algn="l" defTabSz="68566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88" algn="l" defTabSz="68566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20" algn="l" defTabSz="68566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52" algn="l" defTabSz="68566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">
          <p15:clr>
            <a:srgbClr val="F26B43"/>
          </p15:clr>
        </p15:guide>
        <p15:guide id="2" orient="horz" pos="997">
          <p15:clr>
            <a:srgbClr val="F26B43"/>
          </p15:clr>
        </p15:guide>
        <p15:guide id="3" orient="horz" pos="1133">
          <p15:clr>
            <a:srgbClr val="F26B43"/>
          </p15:clr>
        </p15:guide>
        <p15:guide id="4" orient="horz" pos="1269">
          <p15:clr>
            <a:srgbClr val="F26B43"/>
          </p15:clr>
        </p15:guide>
        <p15:guide id="5" orient="horz" pos="4047">
          <p15:clr>
            <a:srgbClr val="F26B43"/>
          </p15:clr>
        </p15:guide>
        <p15:guide id="6" orient="horz" pos="4183">
          <p15:clr>
            <a:srgbClr val="F26B43"/>
          </p15:clr>
        </p15:guide>
        <p15:guide id="7" pos="136">
          <p15:clr>
            <a:srgbClr val="F26B43"/>
          </p15:clr>
        </p15:guide>
        <p15:guide id="8" pos="562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77E182B-3B04-4773-8A12-9BD1F36838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38840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4" progId="TCLayout.ActiveDocument.1">
                  <p:embed/>
                </p:oleObj>
              </mc:Choice>
              <mc:Fallback>
                <p:oleObj name="think-cell Folie" r:id="rId12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77E182B-3B04-4773-8A12-9BD1F36838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69953FA8-7320-4389-8473-636297A22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C25B751-D228-4E26-B9FE-4327002BE4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963" marR="0" lvl="1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1088" marR="0" lvl="2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it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FB1DAD2C-4239-93CD-5139-33E31860696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6227" y="488543"/>
            <a:ext cx="1508465" cy="33675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92388FF-0406-6F95-7C86-B0D2A1F055C9}"/>
              </a:ext>
            </a:extLst>
          </p:cNvPr>
          <p:cNvGrpSpPr/>
          <p:nvPr userDrawn="1"/>
        </p:nvGrpSpPr>
        <p:grpSpPr>
          <a:xfrm>
            <a:off x="9595558" y="6092226"/>
            <a:ext cx="2592465" cy="539932"/>
            <a:chOff x="9596807" y="6092573"/>
            <a:chExt cx="2592803" cy="540002"/>
          </a:xfrm>
        </p:grpSpPr>
        <p:sp>
          <p:nvSpPr>
            <p:cNvPr id="6" name="Rechteck 9">
              <a:extLst>
                <a:ext uri="{FF2B5EF4-FFF2-40B4-BE49-F238E27FC236}">
                  <a16:creationId xmlns:a16="http://schemas.microsoft.com/office/drawing/2014/main" id="{D23162D4-91AB-8D89-AA0D-D3EBF7582E84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11">
              <a:extLst>
                <a:ext uri="{FF2B5EF4-FFF2-40B4-BE49-F238E27FC236}">
                  <a16:creationId xmlns:a16="http://schemas.microsoft.com/office/drawing/2014/main" id="{5331B6F7-F923-0227-B622-088F6A9141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9596807" y="6092573"/>
              <a:ext cx="1085092" cy="539999"/>
            </a:xfrm>
            <a:prstGeom prst="rect">
              <a:avLst/>
            </a:prstGeom>
          </p:spPr>
        </p:pic>
      </p:grpSp>
      <p:sp>
        <p:nvSpPr>
          <p:cNvPr id="8" name="TextBox 1">
            <a:extLst>
              <a:ext uri="{FF2B5EF4-FFF2-40B4-BE49-F238E27FC236}">
                <a16:creationId xmlns:a16="http://schemas.microsoft.com/office/drawing/2014/main" id="{9540DDA5-785B-1288-B6F2-E571D9A05A61}"/>
              </a:ext>
            </a:extLst>
          </p:cNvPr>
          <p:cNvSpPr txBox="1"/>
          <p:nvPr userDrawn="1"/>
        </p:nvSpPr>
        <p:spPr>
          <a:xfrm>
            <a:off x="374593" y="6525344"/>
            <a:ext cx="507144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A2908B00-1C12-E04B-8772-F722F9A72545}" type="slidenum">
              <a:rPr lang="en-US" sz="900" smtClean="0">
                <a:solidFill>
                  <a:schemeClr val="tx1"/>
                </a:solidFill>
              </a:rPr>
              <a:pPr/>
              <a:t>‹N›</a:t>
            </a:fld>
            <a:r>
              <a:rPr lang="it" sz="900" dirty="0">
                <a:solidFill>
                  <a:schemeClr val="tx1"/>
                </a:solidFill>
              </a:rPr>
              <a:t>  |  </a:t>
            </a:r>
            <a:r>
              <a:rPr lang="it-IT" sz="900" dirty="0">
                <a:solidFill>
                  <a:schemeClr val="tx1"/>
                </a:solidFill>
                <a:effectLst/>
              </a:rPr>
              <a:t>Presentazione </a:t>
            </a:r>
            <a:r>
              <a:rPr lang="it-IT" sz="900" dirty="0" err="1">
                <a:solidFill>
                  <a:schemeClr val="tx1"/>
                </a:solidFill>
                <a:effectLst/>
              </a:rPr>
              <a:t>Axalion</a:t>
            </a:r>
            <a:r>
              <a:rPr lang="it-IT" sz="900" baseline="30000" dirty="0">
                <a:solidFill>
                  <a:schemeClr val="tx1"/>
                </a:solidFill>
                <a:effectLst/>
              </a:rPr>
              <a:t>®</a:t>
            </a:r>
            <a:r>
              <a:rPr lang="it-IT" sz="900" dirty="0">
                <a:solidFill>
                  <a:schemeClr val="tx1"/>
                </a:solidFill>
                <a:effectLst/>
              </a:rPr>
              <a:t> Active | Solo per uso interno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7B7DEA1E-9F0C-D9E9-28C9-C7C41F7EEE6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671606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5702" r:id="rId5"/>
    <p:sldLayoutId id="2147485703" r:id="rId6"/>
    <p:sldLayoutId id="2147485704" r:id="rId7"/>
    <p:sldLayoutId id="2147485705" r:id="rId8"/>
    <p:sldLayoutId id="2147485706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base" latinLnBrk="0" hangingPunct="1">
        <a:lnSpc>
          <a:spcPct val="110000"/>
        </a:lnSpc>
        <a:spcBef>
          <a:spcPts val="1800"/>
        </a:spcBef>
        <a:spcAft>
          <a:spcPct val="0"/>
        </a:spcAft>
        <a:buClr>
          <a:srgbClr val="65AC1E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5963" marR="0" indent="-358775" algn="l" defTabSz="914400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rgbClr val="65AC1E"/>
        </a:buClr>
        <a:buSzPct val="90000"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81088" marR="0" indent="-365125" algn="l" defTabSz="914400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65AC1E"/>
        </a:buClr>
        <a:buSzPct val="95000"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513" marR="0" indent="-358775" algn="l" defTabSz="914400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rgbClr val="65AC1E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36">
          <p15:clr>
            <a:srgbClr val="F26B43"/>
          </p15:clr>
        </p15:guide>
        <p15:guide id="7" orient="horz" pos="4183">
          <p15:clr>
            <a:srgbClr val="F26B43"/>
          </p15:clr>
        </p15:guide>
        <p15:guide id="8" orient="horz" pos="4047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pos="143">
          <p15:clr>
            <a:srgbClr val="F26B43"/>
          </p15:clr>
        </p15:guide>
        <p15:guide id="11" orient="horz" pos="3838">
          <p15:clr>
            <a:srgbClr val="F26B43"/>
          </p15:clr>
        </p15:guide>
        <p15:guide id="12" pos="613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77E182B-3B04-4773-8A12-9BD1F36838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637084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2" imgW="344" imgH="344" progId="TCLayout.ActiveDocument.1">
                  <p:embed/>
                </p:oleObj>
              </mc:Choice>
              <mc:Fallback>
                <p:oleObj name="Diapositiva de think-cell" r:id="rId32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77E182B-3B04-4773-8A12-9BD1F36838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69953FA8-7320-4389-8473-636297A22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C25B751-D228-4E26-B9FE-4327002BE4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86CF0017-E90B-33D0-6B86-07CC2015CBE1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6227" y="488543"/>
            <a:ext cx="1508465" cy="336752"/>
          </a:xfrm>
          <a:prstGeom prst="rect">
            <a:avLst/>
          </a:prstGeom>
        </p:spPr>
      </p:pic>
      <p:grpSp>
        <p:nvGrpSpPr>
          <p:cNvPr id="5" name="Group 3">
            <a:extLst>
              <a:ext uri="{FF2B5EF4-FFF2-40B4-BE49-F238E27FC236}">
                <a16:creationId xmlns:a16="http://schemas.microsoft.com/office/drawing/2014/main" id="{00241889-769F-0BB3-E99E-562546FAC859}"/>
              </a:ext>
            </a:extLst>
          </p:cNvPr>
          <p:cNvGrpSpPr/>
          <p:nvPr userDrawn="1"/>
        </p:nvGrpSpPr>
        <p:grpSpPr>
          <a:xfrm>
            <a:off x="9595558" y="6092226"/>
            <a:ext cx="2592465" cy="539932"/>
            <a:chOff x="9596807" y="6092573"/>
            <a:chExt cx="2592803" cy="540002"/>
          </a:xfrm>
        </p:grpSpPr>
        <p:sp>
          <p:nvSpPr>
            <p:cNvPr id="6" name="Rechteck 9">
              <a:extLst>
                <a:ext uri="{FF2B5EF4-FFF2-40B4-BE49-F238E27FC236}">
                  <a16:creationId xmlns:a16="http://schemas.microsoft.com/office/drawing/2014/main" id="{4095E523-EC4B-5BEA-6CDE-5F289FCA991E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11">
              <a:extLst>
                <a:ext uri="{FF2B5EF4-FFF2-40B4-BE49-F238E27FC236}">
                  <a16:creationId xmlns:a16="http://schemas.microsoft.com/office/drawing/2014/main" id="{6E682F8E-50F7-6AE1-DF5A-C31BE09162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rcRect/>
            <a:stretch/>
          </p:blipFill>
          <p:spPr>
            <a:xfrm>
              <a:off x="9596807" y="6092573"/>
              <a:ext cx="1085092" cy="539999"/>
            </a:xfrm>
            <a:prstGeom prst="rect">
              <a:avLst/>
            </a:prstGeom>
          </p:spPr>
        </p:pic>
      </p:grpSp>
      <p:sp>
        <p:nvSpPr>
          <p:cNvPr id="8" name="TextBox 1">
            <a:extLst>
              <a:ext uri="{FF2B5EF4-FFF2-40B4-BE49-F238E27FC236}">
                <a16:creationId xmlns:a16="http://schemas.microsoft.com/office/drawing/2014/main" id="{A88E931E-C498-3F82-9BE7-5B5C7AEFF614}"/>
              </a:ext>
            </a:extLst>
          </p:cNvPr>
          <p:cNvSpPr txBox="1"/>
          <p:nvPr userDrawn="1"/>
        </p:nvSpPr>
        <p:spPr>
          <a:xfrm>
            <a:off x="374593" y="6525344"/>
            <a:ext cx="507144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A2908B00-1C12-E04B-8772-F722F9A72545}" type="slidenum">
              <a:rPr lang="en-US" sz="900" smtClean="0">
                <a:solidFill>
                  <a:schemeClr val="tx1"/>
                </a:solidFill>
              </a:rPr>
              <a:pPr/>
              <a:t>‹N›</a:t>
            </a:fld>
            <a:r>
              <a:rPr lang="it" sz="900" dirty="0">
                <a:solidFill>
                  <a:schemeClr val="tx1"/>
                </a:solidFill>
              </a:rPr>
              <a:t>  |  </a:t>
            </a:r>
            <a:r>
              <a:rPr lang="it-IT" sz="900" dirty="0">
                <a:solidFill>
                  <a:schemeClr val="tx1"/>
                </a:solidFill>
                <a:effectLst/>
              </a:rPr>
              <a:t>Presentazione Axalion</a:t>
            </a:r>
            <a:r>
              <a:rPr lang="it-IT" sz="900" baseline="30000" dirty="0">
                <a:solidFill>
                  <a:schemeClr val="tx1"/>
                </a:solidFill>
                <a:effectLst/>
              </a:rPr>
              <a:t>®</a:t>
            </a:r>
            <a:r>
              <a:rPr lang="it-IT" sz="900" dirty="0">
                <a:solidFill>
                  <a:schemeClr val="tx1"/>
                </a:solidFill>
                <a:effectLst/>
              </a:rPr>
              <a:t> Active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9F942C92-8F98-8A71-EEE6-A2986D0338F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602537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9" r:id="rId1"/>
    <p:sldLayoutId id="2147484530" r:id="rId2"/>
    <p:sldLayoutId id="2147484531" r:id="rId3"/>
    <p:sldLayoutId id="2147484532" r:id="rId4"/>
    <p:sldLayoutId id="2147485665" r:id="rId5"/>
    <p:sldLayoutId id="2147485666" r:id="rId6"/>
    <p:sldLayoutId id="2147485667" r:id="rId7"/>
    <p:sldLayoutId id="2147485668" r:id="rId8"/>
    <p:sldLayoutId id="2147485670" r:id="rId9"/>
    <p:sldLayoutId id="2147485868" r:id="rId10"/>
    <p:sldLayoutId id="2147485869" r:id="rId11"/>
    <p:sldLayoutId id="2147485870" r:id="rId12"/>
    <p:sldLayoutId id="2147485871" r:id="rId13"/>
    <p:sldLayoutId id="2147485872" r:id="rId14"/>
    <p:sldLayoutId id="2147485873" r:id="rId15"/>
    <p:sldLayoutId id="2147485874" r:id="rId16"/>
    <p:sldLayoutId id="2147485875" r:id="rId17"/>
    <p:sldLayoutId id="2147485877" r:id="rId18"/>
    <p:sldLayoutId id="2147485878" r:id="rId19"/>
    <p:sldLayoutId id="2147485345" r:id="rId20"/>
    <p:sldLayoutId id="2147485346" r:id="rId21"/>
    <p:sldLayoutId id="2147485347" r:id="rId22"/>
    <p:sldLayoutId id="2147485348" r:id="rId23"/>
    <p:sldLayoutId id="2147485349" r:id="rId24"/>
    <p:sldLayoutId id="2147485709" r:id="rId25"/>
    <p:sldLayoutId id="2147485710" r:id="rId26"/>
    <p:sldLayoutId id="2147485711" r:id="rId27"/>
    <p:sldLayoutId id="2147485712" r:id="rId28"/>
    <p:sldLayoutId id="2147485713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866" marR="0" indent="-342866" algn="l" defTabSz="914309" rtl="0" eaLnBrk="1" fontAlgn="base" latinLnBrk="0" hangingPunct="1">
        <a:lnSpc>
          <a:spcPct val="110000"/>
        </a:lnSpc>
        <a:spcBef>
          <a:spcPts val="1800"/>
        </a:spcBef>
        <a:spcAft>
          <a:spcPct val="0"/>
        </a:spcAft>
        <a:buClr>
          <a:srgbClr val="65AC1E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5891" marR="0" indent="-358739" algn="l" defTabSz="914309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rgbClr val="65AC1E"/>
        </a:buClr>
        <a:buSzPct val="90000"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80980" marR="0" indent="-365088" algn="l" defTabSz="914309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65AC1E"/>
        </a:buClr>
        <a:buSzPct val="95000"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370" marR="0" indent="-358739" algn="l" defTabSz="914309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rgbClr val="65AC1E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36">
          <p15:clr>
            <a:srgbClr val="F26B43"/>
          </p15:clr>
        </p15:guide>
        <p15:guide id="7" orient="horz" pos="4183">
          <p15:clr>
            <a:srgbClr val="F26B43"/>
          </p15:clr>
        </p15:guide>
        <p15:guide id="8" orient="horz" pos="4047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pos="143">
          <p15:clr>
            <a:srgbClr val="F26B43"/>
          </p15:clr>
        </p15:guide>
        <p15:guide id="11" orient="horz" pos="3838">
          <p15:clr>
            <a:srgbClr val="F26B43"/>
          </p15:clr>
        </p15:guide>
        <p15:guide id="12" pos="613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65307F86-2000-4C87-9B03-2B20D648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841082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499" imgH="499" progId="TCLayout.ActiveDocument.1">
                  <p:embed/>
                </p:oleObj>
              </mc:Choice>
              <mc:Fallback>
                <p:oleObj name="think-cell Folie" r:id="rId21" imgW="499" imgH="49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65307F86-2000-4C87-9B03-2B20D648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7823" y="6516000"/>
            <a:ext cx="7918969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512" y="6516000"/>
            <a:ext cx="467939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772" y="6516000"/>
            <a:ext cx="359953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372" y="1965600"/>
            <a:ext cx="1175247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8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50B5473-0901-5C99-33B4-2608A087E93D}"/>
              </a:ext>
            </a:extLst>
          </p:cNvPr>
          <p:cNvGrpSpPr/>
          <p:nvPr userDrawn="1"/>
        </p:nvGrpSpPr>
        <p:grpSpPr>
          <a:xfrm>
            <a:off x="9599534" y="6098537"/>
            <a:ext cx="2592466" cy="540002"/>
            <a:chOff x="9596807" y="6092573"/>
            <a:chExt cx="2592803" cy="540002"/>
          </a:xfrm>
        </p:grpSpPr>
        <p:sp>
          <p:nvSpPr>
            <p:cNvPr id="14" name="Rechteck 9">
              <a:extLst>
                <a:ext uri="{FF2B5EF4-FFF2-40B4-BE49-F238E27FC236}">
                  <a16:creationId xmlns:a16="http://schemas.microsoft.com/office/drawing/2014/main" id="{2522B86B-0FBB-DFB9-BA02-851312261EB8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5" name="Grafik 11">
              <a:extLst>
                <a:ext uri="{FF2B5EF4-FFF2-40B4-BE49-F238E27FC236}">
                  <a16:creationId xmlns:a16="http://schemas.microsoft.com/office/drawing/2014/main" id="{094B1333-07D4-B272-00E2-DA5BCA801F3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9596807" y="6092573"/>
              <a:ext cx="1085092" cy="539999"/>
            </a:xfrm>
            <a:prstGeom prst="rect">
              <a:avLst/>
            </a:prstGeom>
          </p:spPr>
        </p:pic>
      </p:grpSp>
      <p:pic>
        <p:nvPicPr>
          <p:cNvPr id="7" name="Immagine 6" descr="Immagine che contiene Carattere, Elementi grafici, grafica, schermata&#10;&#10;Il contenuto generato dall'IA potrebbe non essere corretto.">
            <a:extLst>
              <a:ext uri="{FF2B5EF4-FFF2-40B4-BE49-F238E27FC236}">
                <a16:creationId xmlns:a16="http://schemas.microsoft.com/office/drawing/2014/main" id="{E505CC6B-E78B-7CF2-D08E-8120E69D52D1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7585" y="473108"/>
            <a:ext cx="1327257" cy="296337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CAB7489A-87AA-C7D6-9B1E-B032C975347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24042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4" r:id="rId1"/>
    <p:sldLayoutId id="2147484565" r:id="rId2"/>
    <p:sldLayoutId id="2147484566" r:id="rId3"/>
    <p:sldLayoutId id="2147484568" r:id="rId4"/>
    <p:sldLayoutId id="2147484570" r:id="rId5"/>
    <p:sldLayoutId id="2147485724" r:id="rId6"/>
    <p:sldLayoutId id="2147485725" r:id="rId7"/>
    <p:sldLayoutId id="2147485726" r:id="rId8"/>
    <p:sldLayoutId id="2147485727" r:id="rId9"/>
    <p:sldLayoutId id="2147485728" r:id="rId10"/>
    <p:sldLayoutId id="2147485730" r:id="rId11"/>
    <p:sldLayoutId id="2147485841" r:id="rId12"/>
    <p:sldLayoutId id="2147485842" r:id="rId13"/>
    <p:sldLayoutId id="2147485843" r:id="rId14"/>
    <p:sldLayoutId id="2147485844" r:id="rId15"/>
    <p:sldLayoutId id="2147485845" r:id="rId16"/>
    <p:sldLayoutId id="2147485846" r:id="rId17"/>
    <p:sldLayoutId id="2147485847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1932" indent="-341932" algn="l" defTabSz="914218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676" indent="-266346" algn="l" defTabSz="914218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99820" indent="-277144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16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pos="613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77E182B-3B04-4773-8A12-9BD1F36838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637084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1" imgW="344" imgH="344" progId="TCLayout.ActiveDocument.1">
                  <p:embed/>
                </p:oleObj>
              </mc:Choice>
              <mc:Fallback>
                <p:oleObj name="Diapositiva de think-cell" r:id="rId51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77E182B-3B04-4773-8A12-9BD1F36838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8D3D1F21-5FAB-2E41-A186-0C1D9A231C45}"/>
              </a:ext>
            </a:extLst>
          </p:cNvPr>
          <p:cNvGrpSpPr/>
          <p:nvPr userDrawn="1"/>
        </p:nvGrpSpPr>
        <p:grpSpPr>
          <a:xfrm>
            <a:off x="9598076" y="6086700"/>
            <a:ext cx="2592337" cy="540000"/>
            <a:chOff x="9597274" y="5552575"/>
            <a:chExt cx="2592337" cy="540000"/>
          </a:xfrm>
        </p:grpSpPr>
        <p:sp>
          <p:nvSpPr>
            <p:cNvPr id="9" name="Rechteck 9">
              <a:extLst>
                <a:ext uri="{FF2B5EF4-FFF2-40B4-BE49-F238E27FC236}">
                  <a16:creationId xmlns:a16="http://schemas.microsoft.com/office/drawing/2014/main" id="{CAAC65BB-B67E-1240-871E-4CC6DAAAF931}"/>
                </a:ext>
              </a:extLst>
            </p:cNvPr>
            <p:cNvSpPr/>
            <p:nvPr/>
          </p:nvSpPr>
          <p:spPr>
            <a:xfrm>
              <a:off x="9597274" y="5552575"/>
              <a:ext cx="2592337" cy="540000"/>
            </a:xfrm>
            <a:prstGeom prst="rect">
              <a:avLst/>
            </a:prstGeom>
            <a:solidFill>
              <a:srgbClr val="65AC1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0" name="Grafik 10">
              <a:extLst>
                <a:ext uri="{FF2B5EF4-FFF2-40B4-BE49-F238E27FC236}">
                  <a16:creationId xmlns:a16="http://schemas.microsoft.com/office/drawing/2014/main" id="{97684238-4D9A-5948-9B22-B1987A434E44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8218" y="5687020"/>
              <a:ext cx="808496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667632A4-0760-4CBC-A3D4-1CFDE34409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65080E08-982A-4475-AFC5-517EA5E24B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Axalion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Active</a:t>
            </a:r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69953FA8-7320-4389-8473-636297A22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C25B751-D228-4E26-B9FE-4327002BE4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1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891" marR="0" lvl="1" indent="-358739" algn="l" defTabSz="914309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0980" marR="0" lvl="2" indent="-365088" algn="l" defTabSz="914309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370" marR="0" lvl="3" indent="-358739" algn="l" defTabSz="91430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38D3166A-6FF8-3C3C-C64B-EFC3DC6E1001}"/>
              </a:ext>
            </a:extLst>
          </p:cNvPr>
          <p:cNvPicPr>
            <a:picLocks noChangeAspect="1"/>
          </p:cNvPicPr>
          <p:nvPr userDrawn="1"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6333" y="336420"/>
            <a:ext cx="1815631" cy="608304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1DC98B09-09F4-33DE-09FB-EC67B7A08DF5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267808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0" r:id="rId1"/>
    <p:sldLayoutId id="2147484581" r:id="rId2"/>
    <p:sldLayoutId id="2147484582" r:id="rId3"/>
    <p:sldLayoutId id="2147484583" r:id="rId4"/>
    <p:sldLayoutId id="2147484585" r:id="rId5"/>
    <p:sldLayoutId id="2147484586" r:id="rId6"/>
    <p:sldLayoutId id="2147485716" r:id="rId7"/>
    <p:sldLayoutId id="2147485717" r:id="rId8"/>
    <p:sldLayoutId id="2147485718" r:id="rId9"/>
    <p:sldLayoutId id="2147485719" r:id="rId10"/>
    <p:sldLayoutId id="2147485720" r:id="rId11"/>
    <p:sldLayoutId id="2147485721" r:id="rId12"/>
    <p:sldLayoutId id="2147485722" r:id="rId13"/>
    <p:sldLayoutId id="2147485828" r:id="rId14"/>
    <p:sldLayoutId id="2147485829" r:id="rId15"/>
    <p:sldLayoutId id="2147485830" r:id="rId16"/>
    <p:sldLayoutId id="2147485831" r:id="rId17"/>
    <p:sldLayoutId id="2147485833" r:id="rId18"/>
    <p:sldLayoutId id="2147485834" r:id="rId19"/>
    <p:sldLayoutId id="2147485835" r:id="rId20"/>
    <p:sldLayoutId id="2147485836" r:id="rId21"/>
    <p:sldLayoutId id="2147485886" r:id="rId22"/>
    <p:sldLayoutId id="2147485887" r:id="rId23"/>
    <p:sldLayoutId id="2147485888" r:id="rId24"/>
    <p:sldLayoutId id="2147485889" r:id="rId25"/>
    <p:sldLayoutId id="2147485891" r:id="rId26"/>
    <p:sldLayoutId id="2147485892" r:id="rId27"/>
    <p:sldLayoutId id="2147485893" r:id="rId28"/>
    <p:sldLayoutId id="2147485894" r:id="rId29"/>
    <p:sldLayoutId id="2147485931" r:id="rId30"/>
    <p:sldLayoutId id="2147485932" r:id="rId31"/>
    <p:sldLayoutId id="2147485933" r:id="rId32"/>
    <p:sldLayoutId id="2147485934" r:id="rId33"/>
    <p:sldLayoutId id="2147485935" r:id="rId34"/>
    <p:sldLayoutId id="2147485936" r:id="rId35"/>
    <p:sldLayoutId id="2147485937" r:id="rId36"/>
    <p:sldLayoutId id="2147485938" r:id="rId37"/>
    <p:sldLayoutId id="2147485939" r:id="rId38"/>
    <p:sldLayoutId id="2147485940" r:id="rId39"/>
    <p:sldLayoutId id="2147485941" r:id="rId40"/>
    <p:sldLayoutId id="2147486023" r:id="rId41"/>
    <p:sldLayoutId id="2147486024" r:id="rId42"/>
    <p:sldLayoutId id="2147486025" r:id="rId43"/>
    <p:sldLayoutId id="2147486026" r:id="rId44"/>
    <p:sldLayoutId id="2147486028" r:id="rId45"/>
    <p:sldLayoutId id="2147486029" r:id="rId46"/>
    <p:sldLayoutId id="2147486030" r:id="rId47"/>
    <p:sldLayoutId id="2147486031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866" marR="0" indent="-342866" algn="l" defTabSz="914309" rtl="0" eaLnBrk="1" fontAlgn="base" latinLnBrk="0" hangingPunct="1">
        <a:lnSpc>
          <a:spcPct val="110000"/>
        </a:lnSpc>
        <a:spcBef>
          <a:spcPts val="1800"/>
        </a:spcBef>
        <a:spcAft>
          <a:spcPct val="0"/>
        </a:spcAft>
        <a:buClr>
          <a:srgbClr val="65AC1E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5891" marR="0" indent="-358739" algn="l" defTabSz="914309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rgbClr val="65AC1E"/>
        </a:buClr>
        <a:buSzPct val="90000"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80980" marR="0" indent="-365088" algn="l" defTabSz="914309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65AC1E"/>
        </a:buClr>
        <a:buSzPct val="95000"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370" marR="0" indent="-358739" algn="l" defTabSz="914309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rgbClr val="65AC1E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36">
          <p15:clr>
            <a:srgbClr val="F26B43"/>
          </p15:clr>
        </p15:guide>
        <p15:guide id="7" orient="horz" pos="4183">
          <p15:clr>
            <a:srgbClr val="F26B43"/>
          </p15:clr>
        </p15:guide>
        <p15:guide id="8" orient="horz" pos="4047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pos="143">
          <p15:clr>
            <a:srgbClr val="F26B43"/>
          </p15:clr>
        </p15:guide>
        <p15:guide id="11" orient="horz" pos="3838">
          <p15:clr>
            <a:srgbClr val="F26B43"/>
          </p15:clr>
        </p15:guide>
        <p15:guide id="12" pos="613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ggetto 12" hidden="1">
            <a:extLst>
              <a:ext uri="{FF2B5EF4-FFF2-40B4-BE49-F238E27FC236}">
                <a16:creationId xmlns:a16="http://schemas.microsoft.com/office/drawing/2014/main" id="{60DB6AD7-5955-4775-A9A5-8D1562231C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535905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0" imgW="416" imgH="416" progId="TCLayout.ActiveDocument.1">
                  <p:embed/>
                </p:oleObj>
              </mc:Choice>
              <mc:Fallback>
                <p:oleObj name="Diapositiva think-cell" r:id="rId50" imgW="416" imgH="416" progId="TCLayout.ActiveDocument.1">
                  <p:embed/>
                  <p:pic>
                    <p:nvPicPr>
                      <p:cNvPr id="13" name="Oggetto 12" hidden="1">
                        <a:extLst>
                          <a:ext uri="{FF2B5EF4-FFF2-40B4-BE49-F238E27FC236}">
                            <a16:creationId xmlns:a16="http://schemas.microsoft.com/office/drawing/2014/main" id="{60DB6AD7-5955-4775-A9A5-8D1562231C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7823" y="6516000"/>
            <a:ext cx="7918969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512" y="6516000"/>
            <a:ext cx="467939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372" y="1965600"/>
            <a:ext cx="1175247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8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/>
        </p:nvGrpSpPr>
        <p:grpSpPr>
          <a:xfrm>
            <a:off x="9599950" y="6091200"/>
            <a:ext cx="2591663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pic>
        <p:nvPicPr>
          <p:cNvPr id="8" name="Immagine 7" descr="Immagine che contiene Carattere, Elementi grafici, grafica, schermata&#10;&#10;Il contenuto generato dall'IA potrebbe non essere corretto.">
            <a:extLst>
              <a:ext uri="{FF2B5EF4-FFF2-40B4-BE49-F238E27FC236}">
                <a16:creationId xmlns:a16="http://schemas.microsoft.com/office/drawing/2014/main" id="{C6368405-C020-F7F2-3140-7727E64120BE}"/>
              </a:ext>
            </a:extLst>
          </p:cNvPr>
          <p:cNvPicPr>
            <a:picLocks noChangeAspect="1"/>
          </p:cNvPicPr>
          <p:nvPr userDrawn="1"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7585" y="473108"/>
            <a:ext cx="1327257" cy="296337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C3CD373B-D1CF-8511-9AE2-79E9ED2547C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935446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9" r:id="rId1"/>
    <p:sldLayoutId id="2147484590" r:id="rId2"/>
    <p:sldLayoutId id="2147484591" r:id="rId3"/>
    <p:sldLayoutId id="2147484592" r:id="rId4"/>
    <p:sldLayoutId id="2147484593" r:id="rId5"/>
    <p:sldLayoutId id="2147484594" r:id="rId6"/>
    <p:sldLayoutId id="2147484595" r:id="rId7"/>
    <p:sldLayoutId id="2147484596" r:id="rId8"/>
    <p:sldLayoutId id="2147484597" r:id="rId9"/>
    <p:sldLayoutId id="2147484598" r:id="rId10"/>
    <p:sldLayoutId id="2147484599" r:id="rId11"/>
    <p:sldLayoutId id="2147484600" r:id="rId12"/>
    <p:sldLayoutId id="2147484601" r:id="rId13"/>
    <p:sldLayoutId id="2147484602" r:id="rId14"/>
    <p:sldLayoutId id="2147484603" r:id="rId15"/>
    <p:sldLayoutId id="2147484604" r:id="rId16"/>
    <p:sldLayoutId id="2147484605" r:id="rId17"/>
    <p:sldLayoutId id="2147484606" r:id="rId18"/>
    <p:sldLayoutId id="2147484607" r:id="rId19"/>
    <p:sldLayoutId id="2147484608" r:id="rId20"/>
    <p:sldLayoutId id="2147484609" r:id="rId21"/>
    <p:sldLayoutId id="2147484610" r:id="rId22"/>
    <p:sldLayoutId id="2147484611" r:id="rId23"/>
    <p:sldLayoutId id="2147484612" r:id="rId24"/>
    <p:sldLayoutId id="2147484690" r:id="rId25"/>
    <p:sldLayoutId id="2147484691" r:id="rId26"/>
    <p:sldLayoutId id="2147484692" r:id="rId27"/>
    <p:sldLayoutId id="2147484693" r:id="rId28"/>
    <p:sldLayoutId id="2147484694" r:id="rId29"/>
    <p:sldLayoutId id="2147484695" r:id="rId30"/>
    <p:sldLayoutId id="2147484696" r:id="rId31"/>
    <p:sldLayoutId id="2147484697" r:id="rId32"/>
    <p:sldLayoutId id="2147484698" r:id="rId33"/>
    <p:sldLayoutId id="2147484699" r:id="rId34"/>
    <p:sldLayoutId id="2147484700" r:id="rId35"/>
    <p:sldLayoutId id="2147484701" r:id="rId36"/>
    <p:sldLayoutId id="2147484702" r:id="rId37"/>
    <p:sldLayoutId id="2147484703" r:id="rId38"/>
    <p:sldLayoutId id="2147484704" r:id="rId39"/>
    <p:sldLayoutId id="2147484705" r:id="rId40"/>
    <p:sldLayoutId id="2147484706" r:id="rId41"/>
    <p:sldLayoutId id="2147484707" r:id="rId42"/>
    <p:sldLayoutId id="2147484708" r:id="rId43"/>
    <p:sldLayoutId id="2147484709" r:id="rId44"/>
    <p:sldLayoutId id="2147484710" r:id="rId45"/>
    <p:sldLayoutId id="2147484711" r:id="rId46"/>
    <p:sldLayoutId id="2147484712" r:id="rId47"/>
  </p:sldLayoutIdLst>
  <p:hf hdr="0" ftr="0" dt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1932" indent="-341932" algn="l" defTabSz="914218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676" indent="-266346" algn="l" defTabSz="914218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99820" indent="-277144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16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7822" y="6516000"/>
            <a:ext cx="7918969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511" y="6516000"/>
            <a:ext cx="467939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DE"/>
              <a:t>03.12.201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771" y="6516000"/>
            <a:ext cx="359953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fld id="{DE3A9367-73CE-4CBB-AB25-8D0A2C30D947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372" y="1965600"/>
            <a:ext cx="1175247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8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/>
        </p:nvGrpSpPr>
        <p:grpSpPr>
          <a:xfrm>
            <a:off x="9599950" y="6091200"/>
            <a:ext cx="2591663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ACA2D21-780A-9CCF-FCE7-FDDE37AE526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205751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3" r:id="rId1"/>
    <p:sldLayoutId id="2147484824" r:id="rId2"/>
    <p:sldLayoutId id="2147484825" r:id="rId3"/>
    <p:sldLayoutId id="2147484826" r:id="rId4"/>
    <p:sldLayoutId id="2147484827" r:id="rId5"/>
    <p:sldLayoutId id="2147484828" r:id="rId6"/>
    <p:sldLayoutId id="2147484829" r:id="rId7"/>
    <p:sldLayoutId id="2147484830" r:id="rId8"/>
    <p:sldLayoutId id="2147484831" r:id="rId9"/>
    <p:sldLayoutId id="2147484832" r:id="rId10"/>
    <p:sldLayoutId id="2147484833" r:id="rId11"/>
    <p:sldLayoutId id="2147484834" r:id="rId12"/>
    <p:sldLayoutId id="2147484835" r:id="rId13"/>
    <p:sldLayoutId id="2147484836" r:id="rId14"/>
    <p:sldLayoutId id="2147484837" r:id="rId15"/>
    <p:sldLayoutId id="2147484838" r:id="rId16"/>
    <p:sldLayoutId id="2147484839" r:id="rId17"/>
    <p:sldLayoutId id="2147484840" r:id="rId18"/>
    <p:sldLayoutId id="2147484841" r:id="rId19"/>
    <p:sldLayoutId id="2147484842" r:id="rId20"/>
    <p:sldLayoutId id="2147484843" r:id="rId21"/>
    <p:sldLayoutId id="2147484844" r:id="rId22"/>
    <p:sldLayoutId id="2147484845" r:id="rId23"/>
    <p:sldLayoutId id="2147484846" r:id="rId24"/>
    <p:sldLayoutId id="2147484847" r:id="rId25"/>
    <p:sldLayoutId id="2147484848" r:id="rId26"/>
  </p:sldLayoutIdLst>
  <p:hf hdr="0" ftr="0" dt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1966" indent="-341966" algn="l" defTabSz="914309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738" indent="-266373" algn="l" defTabSz="914309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99910" indent="-277172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283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646411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66686FBA-C6FD-4391-8F32-EC39E11F17E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 userDrawn="1"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A7232FC3-F2C5-4B01-9BD3-D0E654543C9D}" type="datetime1">
              <a:rPr lang="de-DE" smtClean="0"/>
              <a:t>24.04.2026</a:t>
            </a:fld>
            <a:endParaRPr lang="de-DE"/>
          </a:p>
        </p:txBody>
      </p:sp>
      <p:sp>
        <p:nvSpPr>
          <p:cNvPr id="23" name="Fußzeilenplatzhalter 6"/>
          <p:cNvSpPr>
            <a:spLocks noGrp="1"/>
          </p:cNvSpPr>
          <p:nvPr userDrawn="1"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24" name="Foliennummernplatzhalter 7"/>
          <p:cNvSpPr>
            <a:spLocks noGrp="1"/>
          </p:cNvSpPr>
          <p:nvPr userDrawn="1"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>
              <a:solidFill>
                <a:srgbClr val="C50022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EC64EB5-3739-41D1-9D4C-C15F12AC1533}"/>
              </a:ext>
            </a:extLst>
          </p:cNvPr>
          <p:cNvSpPr txBox="1"/>
          <p:nvPr userDrawn="1"/>
        </p:nvSpPr>
        <p:spPr>
          <a:xfrm>
            <a:off x="4177857" y="6858000"/>
            <a:ext cx="3834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>
                <a:solidFill>
                  <a:srgbClr val="C50022"/>
                </a:solidFill>
                <a:sym typeface="Wingdings" panose="05000000000000000000" pitchFamily="2" charset="2"/>
              </a:rPr>
              <a:t></a:t>
            </a:r>
            <a:endParaRPr lang="de-DE" sz="1200">
              <a:solidFill>
                <a:srgbClr val="C50022"/>
              </a:solidFill>
            </a:endParaRPr>
          </a:p>
          <a:p>
            <a:pPr algn="ctr"/>
            <a:r>
              <a:rPr lang="de-DE" sz="1200">
                <a:solidFill>
                  <a:srgbClr val="C50022"/>
                </a:solidFill>
              </a:rPr>
              <a:t>Zur Angabe der Klassifizierung (VERTRAULICH etc.) </a:t>
            </a:r>
            <a:br>
              <a:rPr lang="de-DE" sz="1200">
                <a:solidFill>
                  <a:srgbClr val="C50022"/>
                </a:solidFill>
              </a:rPr>
            </a:br>
            <a:r>
              <a:rPr lang="de-DE" sz="1200">
                <a:solidFill>
                  <a:srgbClr val="C50022"/>
                </a:solidFill>
              </a:rPr>
              <a:t>bitte dieses Textfeld im Folienmaster verwend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B2ED9C27-3BB2-4F96-9471-64B44D66C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D77FA06-8CD0-55A8-805A-CE210F266BF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958746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marR="0" indent="-342900" algn="l" defTabSz="914400" rtl="0" eaLnBrk="1" fontAlgn="base" latinLnBrk="0" hangingPunct="1">
        <a:lnSpc>
          <a:spcPct val="110000"/>
        </a:lnSpc>
        <a:spcBef>
          <a:spcPts val="0"/>
        </a:spcBef>
        <a:spcAft>
          <a:spcPct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5963" marR="0" indent="-358775" algn="l" defTabSz="914400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chemeClr val="accent1"/>
        </a:buClr>
        <a:buSzPct val="90000"/>
        <a:buFont typeface="Wingdings 3" panose="05040102010807070707" pitchFamily="18" charset="2"/>
        <a:buChar char="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81088" marR="0" indent="-365125" algn="l" defTabSz="914400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SzPct val="95000"/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3513" marR="0" indent="-358775" algn="l" defTabSz="914400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Tx/>
        <a:buFont typeface="Arial" panose="020B0604020202020204" pitchFamily="34" charset="0"/>
        <a:buChar char="−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4" pos="143">
          <p15:clr>
            <a:srgbClr val="F26B43"/>
          </p15:clr>
        </p15:guide>
        <p15:guide id="5" pos="7536">
          <p15:clr>
            <a:srgbClr val="F26B43"/>
          </p15:clr>
        </p15:guide>
        <p15:guide id="10" orient="horz" pos="1275">
          <p15:clr>
            <a:srgbClr val="F26B43"/>
          </p15:clr>
        </p15:guide>
        <p15:guide id="11" orient="horz" pos="4178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ggetto 12" hidden="1">
            <a:extLst>
              <a:ext uri="{FF2B5EF4-FFF2-40B4-BE49-F238E27FC236}">
                <a16:creationId xmlns:a16="http://schemas.microsoft.com/office/drawing/2014/main" id="{60DB6AD7-5955-4775-A9A5-8D1562231C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535905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3" imgW="416" imgH="416" progId="TCLayout.ActiveDocument.1">
                  <p:embed/>
                </p:oleObj>
              </mc:Choice>
              <mc:Fallback>
                <p:oleObj name="Diapositiva think-cell" r:id="rId43" imgW="416" imgH="416" progId="TCLayout.ActiveDocument.1">
                  <p:embed/>
                  <p:pic>
                    <p:nvPicPr>
                      <p:cNvPr id="13" name="Oggetto 12" hidden="1">
                        <a:extLst>
                          <a:ext uri="{FF2B5EF4-FFF2-40B4-BE49-F238E27FC236}">
                            <a16:creationId xmlns:a16="http://schemas.microsoft.com/office/drawing/2014/main" id="{60DB6AD7-5955-4775-A9A5-8D1562231C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7823" y="6516000"/>
            <a:ext cx="7918969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| SPCs Team Meeting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512" y="6516000"/>
            <a:ext cx="467939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03.12.2019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372" y="1965600"/>
            <a:ext cx="1175247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8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/>
        </p:nvGrpSpPr>
        <p:grpSpPr>
          <a:xfrm>
            <a:off x="9599950" y="6091200"/>
            <a:ext cx="2591663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pic>
        <p:nvPicPr>
          <p:cNvPr id="8" name="Immagine 7" descr="Immagine che contiene Carattere, Elementi grafici, grafica, schermata&#10;&#10;Il contenuto generato dall'IA potrebbe non essere corretto.">
            <a:extLst>
              <a:ext uri="{FF2B5EF4-FFF2-40B4-BE49-F238E27FC236}">
                <a16:creationId xmlns:a16="http://schemas.microsoft.com/office/drawing/2014/main" id="{C6368405-C020-F7F2-3140-7727E64120BE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7585" y="473108"/>
            <a:ext cx="1327257" cy="296337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12E576F5-7157-2F79-C02A-A21CE0A0C92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4863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70895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2" r:id="rId1"/>
    <p:sldLayoutId id="2147485203" r:id="rId2"/>
    <p:sldLayoutId id="2147485204" r:id="rId3"/>
    <p:sldLayoutId id="2147485205" r:id="rId4"/>
    <p:sldLayoutId id="2147485206" r:id="rId5"/>
    <p:sldLayoutId id="2147485207" r:id="rId6"/>
    <p:sldLayoutId id="2147485208" r:id="rId7"/>
    <p:sldLayoutId id="2147485209" r:id="rId8"/>
    <p:sldLayoutId id="2147485210" r:id="rId9"/>
    <p:sldLayoutId id="2147485211" r:id="rId10"/>
    <p:sldLayoutId id="2147485212" r:id="rId11"/>
    <p:sldLayoutId id="2147485213" r:id="rId12"/>
    <p:sldLayoutId id="2147485214" r:id="rId13"/>
    <p:sldLayoutId id="2147485215" r:id="rId14"/>
    <p:sldLayoutId id="2147485216" r:id="rId15"/>
    <p:sldLayoutId id="2147485217" r:id="rId16"/>
    <p:sldLayoutId id="2147485218" r:id="rId17"/>
    <p:sldLayoutId id="2147485219" r:id="rId18"/>
    <p:sldLayoutId id="2147485220" r:id="rId19"/>
    <p:sldLayoutId id="2147485221" r:id="rId20"/>
    <p:sldLayoutId id="2147485222" r:id="rId21"/>
    <p:sldLayoutId id="2147485223" r:id="rId22"/>
    <p:sldLayoutId id="2147485224" r:id="rId23"/>
    <p:sldLayoutId id="2147485225" r:id="rId24"/>
    <p:sldLayoutId id="2147485778" r:id="rId25"/>
    <p:sldLayoutId id="2147485779" r:id="rId26"/>
    <p:sldLayoutId id="2147485780" r:id="rId27"/>
    <p:sldLayoutId id="2147485781" r:id="rId28"/>
    <p:sldLayoutId id="2147485782" r:id="rId29"/>
    <p:sldLayoutId id="2147485783" r:id="rId30"/>
    <p:sldLayoutId id="2147485784" r:id="rId31"/>
    <p:sldLayoutId id="2147485785" r:id="rId32"/>
    <p:sldLayoutId id="2147485786" r:id="rId33"/>
    <p:sldLayoutId id="2147485787" r:id="rId34"/>
    <p:sldLayoutId id="2147485788" r:id="rId35"/>
    <p:sldLayoutId id="2147485789" r:id="rId36"/>
    <p:sldLayoutId id="2147485790" r:id="rId37"/>
    <p:sldLayoutId id="2147485791" r:id="rId38"/>
    <p:sldLayoutId id="2147485792" r:id="rId39"/>
    <p:sldLayoutId id="2147485793" r:id="rId40"/>
  </p:sldLayoutIdLst>
  <p:hf hdr="0" ftr="0" dt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1932" indent="-341932" algn="l" defTabSz="914218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676" indent="-266346" algn="l" defTabSz="914218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99820" indent="-277144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16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oleObject" Target="../embeddings/oleObject26.bin"/><Relationship Id="rId5" Type="http://schemas.openxmlformats.org/officeDocument/2006/relationships/image" Target="../media/image38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29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13" Type="http://schemas.openxmlformats.org/officeDocument/2006/relationships/image" Target="../media/image73.jpeg"/><Relationship Id="rId3" Type="http://schemas.openxmlformats.org/officeDocument/2006/relationships/slideLayout" Target="../slideLayouts/slideLayout289.xml"/><Relationship Id="rId7" Type="http://schemas.openxmlformats.org/officeDocument/2006/relationships/image" Target="../media/image67.jpeg"/><Relationship Id="rId12" Type="http://schemas.openxmlformats.org/officeDocument/2006/relationships/image" Target="../media/image72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40.emf"/><Relationship Id="rId11" Type="http://schemas.openxmlformats.org/officeDocument/2006/relationships/image" Target="../media/image71.jpeg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70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69.jpeg"/><Relationship Id="rId14" Type="http://schemas.openxmlformats.org/officeDocument/2006/relationships/image" Target="../media/image7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89.xml"/><Relationship Id="rId1" Type="http://schemas.openxmlformats.org/officeDocument/2006/relationships/tags" Target="../tags/tag92.xml"/><Relationship Id="rId5" Type="http://schemas.openxmlformats.org/officeDocument/2006/relationships/image" Target="../media/image76.jpeg"/><Relationship Id="rId4" Type="http://schemas.openxmlformats.org/officeDocument/2006/relationships/image" Target="../media/image7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slideLayout" Target="../slideLayouts/slideLayout289.xml"/><Relationship Id="rId1" Type="http://schemas.openxmlformats.org/officeDocument/2006/relationships/tags" Target="../tags/tag9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89.xml"/><Relationship Id="rId1" Type="http://schemas.openxmlformats.org/officeDocument/2006/relationships/tags" Target="../tags/tag94.xml"/><Relationship Id="rId5" Type="http://schemas.openxmlformats.org/officeDocument/2006/relationships/image" Target="../media/image55.jpg"/><Relationship Id="rId4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13" Type="http://schemas.openxmlformats.org/officeDocument/2006/relationships/image" Target="../media/image74.jpeg"/><Relationship Id="rId3" Type="http://schemas.openxmlformats.org/officeDocument/2006/relationships/slideLayout" Target="../slideLayouts/slideLayout289.xml"/><Relationship Id="rId7" Type="http://schemas.openxmlformats.org/officeDocument/2006/relationships/image" Target="../media/image68.jpeg"/><Relationship Id="rId12" Type="http://schemas.openxmlformats.org/officeDocument/2006/relationships/image" Target="../media/image73.jpe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40.emf"/><Relationship Id="rId11" Type="http://schemas.openxmlformats.org/officeDocument/2006/relationships/image" Target="../media/image72.jpeg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71.jpe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0.jpeg"/><Relationship Id="rId14" Type="http://schemas.openxmlformats.org/officeDocument/2006/relationships/image" Target="../media/image67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77.png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40.emf"/><Relationship Id="rId17" Type="http://schemas.openxmlformats.org/officeDocument/2006/relationships/image" Target="../media/image74.jpeg"/><Relationship Id="rId2" Type="http://schemas.openxmlformats.org/officeDocument/2006/relationships/tags" Target="../tags/tag98.xml"/><Relationship Id="rId16" Type="http://schemas.openxmlformats.org/officeDocument/2006/relationships/image" Target="../media/image43.png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101.xml"/><Relationship Id="rId15" Type="http://schemas.openxmlformats.org/officeDocument/2006/relationships/image" Target="../media/image42.png"/><Relationship Id="rId10" Type="http://schemas.openxmlformats.org/officeDocument/2006/relationships/slideLayout" Target="../slideLayouts/slideLayout186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image" Target="../media/image78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g"/><Relationship Id="rId3" Type="http://schemas.openxmlformats.org/officeDocument/2006/relationships/image" Target="../media/image79.jpg"/><Relationship Id="rId7" Type="http://schemas.openxmlformats.org/officeDocument/2006/relationships/image" Target="../media/image83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3.xml"/><Relationship Id="rId6" Type="http://schemas.openxmlformats.org/officeDocument/2006/relationships/image" Target="../media/image82.jpg"/><Relationship Id="rId5" Type="http://schemas.openxmlformats.org/officeDocument/2006/relationships/image" Target="../media/image81.jpg"/><Relationship Id="rId4" Type="http://schemas.openxmlformats.org/officeDocument/2006/relationships/image" Target="../media/image80.jp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tags" Target="../tags/tag82.xml"/><Relationship Id="rId7" Type="http://schemas.openxmlformats.org/officeDocument/2006/relationships/image" Target="../media/image40.emf"/><Relationship Id="rId12" Type="http://schemas.openxmlformats.org/officeDocument/2006/relationships/image" Target="../media/image45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44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48.png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61.xml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2.emf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83.x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image" Target="../media/image4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4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119.xml"/><Relationship Id="rId1" Type="http://schemas.openxmlformats.org/officeDocument/2006/relationships/tags" Target="../tags/tag84.xml"/><Relationship Id="rId6" Type="http://schemas.openxmlformats.org/officeDocument/2006/relationships/diagramData" Target="../diagrams/data1.xml"/><Relationship Id="rId11" Type="http://schemas.openxmlformats.org/officeDocument/2006/relationships/image" Target="../media/image53.jpeg"/><Relationship Id="rId5" Type="http://schemas.openxmlformats.org/officeDocument/2006/relationships/image" Target="../media/image9.svg"/><Relationship Id="rId10" Type="http://schemas.microsoft.com/office/2007/relationships/diagramDrawing" Target="../diagrams/drawing1.xml"/><Relationship Id="rId4" Type="http://schemas.openxmlformats.org/officeDocument/2006/relationships/image" Target="../media/image8.png"/><Relationship Id="rId9" Type="http://schemas.openxmlformats.org/officeDocument/2006/relationships/diagramColors" Target="../diagrams/colors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85.xml"/><Relationship Id="rId6" Type="http://schemas.openxmlformats.org/officeDocument/2006/relationships/image" Target="../media/image54.pn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86.xml"/><Relationship Id="rId6" Type="http://schemas.openxmlformats.org/officeDocument/2006/relationships/image" Target="../media/image55.jp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87.xml"/><Relationship Id="rId6" Type="http://schemas.openxmlformats.org/officeDocument/2006/relationships/image" Target="../media/image57.pn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40.emf"/><Relationship Id="rId4" Type="http://schemas.openxmlformats.org/officeDocument/2006/relationships/oleObject" Target="../embeddings/oleObject2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image" Target="../media/image59.jpe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3.xml"/><Relationship Id="rId6" Type="http://schemas.openxmlformats.org/officeDocument/2006/relationships/image" Target="../media/image62.jpeg"/><Relationship Id="rId5" Type="http://schemas.openxmlformats.org/officeDocument/2006/relationships/image" Target="../media/image61.png"/><Relationship Id="rId4" Type="http://schemas.openxmlformats.org/officeDocument/2006/relationships/image" Target="../media/image60.jpeg"/><Relationship Id="rId9" Type="http://schemas.openxmlformats.org/officeDocument/2006/relationships/image" Target="../media/image6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12">
            <a:extLst>
              <a:ext uri="{FF2B5EF4-FFF2-40B4-BE49-F238E27FC236}">
                <a16:creationId xmlns:a16="http://schemas.microsoft.com/office/drawing/2014/main" id="{5727828D-D49D-BCBC-FDB0-65A3DE70ED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282"/>
            <a:ext cx="12209894" cy="6868281"/>
          </a:xfrm>
          <a:prstGeom prst="rect">
            <a:avLst/>
          </a:prstGeom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447"/>
          <a:ext cx="158729" cy="1587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94" y="447"/>
                        <a:ext cx="158729" cy="1587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9">
            <a:extLst>
              <a:ext uri="{FF2B5EF4-FFF2-40B4-BE49-F238E27FC236}">
                <a16:creationId xmlns:a16="http://schemas.microsoft.com/office/drawing/2014/main" id="{EBDF7A31-83DA-4125-65B3-0538597846C6}"/>
              </a:ext>
            </a:extLst>
          </p:cNvPr>
          <p:cNvSpPr/>
          <p:nvPr/>
        </p:nvSpPr>
        <p:spPr>
          <a:xfrm>
            <a:off x="-1" y="2412333"/>
            <a:ext cx="5370898" cy="321701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Rechteck 13">
            <a:extLst>
              <a:ext uri="{FF2B5EF4-FFF2-40B4-BE49-F238E27FC236}">
                <a16:creationId xmlns:a16="http://schemas.microsoft.com/office/drawing/2014/main" id="{553FD6A8-6055-D7D9-D7B2-D06178FB2A8F}"/>
              </a:ext>
            </a:extLst>
          </p:cNvPr>
          <p:cNvSpPr/>
          <p:nvPr userDrawn="1"/>
        </p:nvSpPr>
        <p:spPr>
          <a:xfrm>
            <a:off x="-77002" y="1526913"/>
            <a:ext cx="5457013" cy="10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8" name="Grafik 12">
            <a:extLst>
              <a:ext uri="{FF2B5EF4-FFF2-40B4-BE49-F238E27FC236}">
                <a16:creationId xmlns:a16="http://schemas.microsoft.com/office/drawing/2014/main" id="{ECC2332C-8BF4-899A-9CB2-5DE8EEEF518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377" y="1800596"/>
            <a:ext cx="1619555" cy="586722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94860FA2-C6FC-63BC-3359-7FC3E1F9BB95}"/>
              </a:ext>
            </a:extLst>
          </p:cNvPr>
          <p:cNvSpPr txBox="1">
            <a:spLocks/>
          </p:cNvSpPr>
          <p:nvPr/>
        </p:nvSpPr>
        <p:spPr>
          <a:xfrm>
            <a:off x="236306" y="2843445"/>
            <a:ext cx="4155713" cy="220066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500" b="1" i="0" u="none" strike="noStrike" kern="1200" cap="none" spc="0" normalizeH="0" baseline="0" noProof="0" dirty="0">
              <a:ln>
                <a:noFill/>
              </a:ln>
              <a:solidFill>
                <a:srgbClr val="65AC1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311778EA-7AC3-B485-3766-ABBE33D944AE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36303" y="2812965"/>
            <a:ext cx="5134594" cy="2216563"/>
          </a:xfrm>
          <a:prstGeom prst="rect">
            <a:avLst/>
          </a:prstGeom>
        </p:spPr>
        <p:txBody>
          <a:bodyPr lIns="0" tIns="0" rIns="0" bIns="0" anchor="t">
            <a:normAutofit fontScale="92500"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3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fficon</a:t>
            </a:r>
            <a:r>
              <a:rPr kumimoji="0" lang="it-IT" sz="4300" b="1" i="0" u="none" strike="noStrike" kern="1200" cap="none" spc="0" normalizeH="0" baseline="3000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kumimoji="0" lang="it-IT" sz="43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range</a:t>
            </a:r>
            <a:b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it-IT" sz="2200" b="0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Axalion</a:t>
            </a:r>
            <a:r>
              <a:rPr kumimoji="0" lang="it-IT" sz="2200" b="0" i="0" u="none" strike="noStrike" kern="1200" cap="none" spc="0" normalizeH="0" baseline="3000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kumimoji="0" lang="it-IT" sz="2200" b="0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ctive | </a:t>
            </a:r>
            <a:r>
              <a:rPr kumimoji="0" lang="it-IT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mpropyridaz</a:t>
            </a:r>
            <a:r>
              <a:rPr kumimoji="0" lang="it-IT" sz="2200" b="0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kumimoji="0" lang="it-IT" sz="2200" b="0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it-IT" sz="2200" b="0" i="0" u="none" strike="noStrike" kern="1200" cap="none" spc="0" normalizeH="0" baseline="0" noProof="0" dirty="0">
              <a:ln>
                <a:noFill/>
              </a:ln>
              <a:solidFill>
                <a:srgbClr val="65AC1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200" dirty="0">
                <a:solidFill>
                  <a:srgbClr val="65AC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ovo insetticida per il controllo</a:t>
            </a:r>
            <a:b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lla Cocciniglia rossa forte degli agrumi</a:t>
            </a:r>
            <a:b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it" sz="1800" b="1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0A6CFCA-960E-805A-75CC-432F594367C1}"/>
              </a:ext>
            </a:extLst>
          </p:cNvPr>
          <p:cNvSpPr txBox="1"/>
          <p:nvPr/>
        </p:nvSpPr>
        <p:spPr>
          <a:xfrm>
            <a:off x="236300" y="5848940"/>
            <a:ext cx="504796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rgbClr val="FFFFFF"/>
                </a:solidFill>
                <a:latin typeface="Arial" panose="020B0604020202020204"/>
                <a:cs typeface="Arial"/>
              </a:rPr>
              <a:t>P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rodotto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autorizzato per usi emergenziali (art.53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rgbClr val="FFFFFF"/>
                </a:solidFill>
                <a:latin typeface="Arial" panose="020B0604020202020204"/>
                <a:cs typeface="Arial"/>
              </a:rPr>
              <a:t>dal 15 aprile al 12 agosto 2026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8D89BA7-E1CD-19E5-14FC-5E163E59BBAF}"/>
              </a:ext>
            </a:extLst>
          </p:cNvPr>
          <p:cNvSpPr txBox="1"/>
          <p:nvPr/>
        </p:nvSpPr>
        <p:spPr>
          <a:xfrm>
            <a:off x="236299" y="5074495"/>
            <a:ext cx="43742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alvatore Criscione, Citrus Forum 2026</a:t>
            </a:r>
          </a:p>
        </p:txBody>
      </p:sp>
    </p:spTree>
    <p:extLst>
      <p:ext uri="{BB962C8B-B14F-4D97-AF65-F5344CB8AC3E}">
        <p14:creationId xmlns:p14="http://schemas.microsoft.com/office/powerpoint/2010/main" val="3574556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F4319D-E84C-BA95-B2A0-BE018ACCED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F40CD8B2-03E9-94F1-B96E-15EBDB5754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282"/>
            <a:ext cx="12209894" cy="6868281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49C319AE-0DEC-DCF8-FAA1-CAB209190828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1946343"/>
            <a:ext cx="5443549" cy="10797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33560F"/>
              </a:highlight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8" name="Rechteck 7">
            <a:extLst>
              <a:ext uri="{FF2B5EF4-FFF2-40B4-BE49-F238E27FC236}">
                <a16:creationId xmlns:a16="http://schemas.microsoft.com/office/drawing/2014/main" id="{09650F31-C046-FA63-B3BF-B2C1D365B4EC}"/>
              </a:ext>
            </a:extLst>
          </p:cNvPr>
          <p:cNvSpPr/>
          <p:nvPr/>
        </p:nvSpPr>
        <p:spPr>
          <a:xfrm>
            <a:off x="794" y="3019004"/>
            <a:ext cx="5442755" cy="215938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CBD56D0-8754-9EBE-F2F7-436BD4B97468}"/>
              </a:ext>
            </a:extLst>
          </p:cNvPr>
          <p:cNvSpPr txBox="1">
            <a:spLocks/>
          </p:cNvSpPr>
          <p:nvPr/>
        </p:nvSpPr>
        <p:spPr>
          <a:xfrm>
            <a:off x="211896" y="3198110"/>
            <a:ext cx="5182362" cy="1581899"/>
          </a:xfrm>
          <a:prstGeom prst="rect">
            <a:avLst/>
          </a:prstGeom>
          <a:noFill/>
        </p:spPr>
        <p:txBody>
          <a:bodyPr lIns="91416" tIns="45708" rIns="91416" bIns="45708" anchor="t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218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icon</a:t>
            </a:r>
            <a:r>
              <a:rPr kumimoji="0" lang="en-US" sz="16000" b="1" i="0" u="none" strike="noStrike" kern="1200" cap="none" spc="0" normalizeH="0" baseline="3000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®</a:t>
            </a:r>
            <a:r>
              <a:rPr kumimoji="0" lang="en-US" sz="160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Orange </a:t>
            </a:r>
            <a:br>
              <a:rPr kumimoji="0" lang="en-US" sz="12799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en-US" sz="8000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(Axalion</a:t>
            </a:r>
            <a:r>
              <a:rPr kumimoji="0" lang="en-US" sz="8000" i="0" u="none" strike="noStrike" kern="1200" cap="none" spc="0" normalizeH="0" baseline="3000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®</a:t>
            </a:r>
            <a:r>
              <a:rPr kumimoji="0" lang="en-US" sz="8000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Active)</a:t>
            </a:r>
            <a:br>
              <a:rPr kumimoji="0" lang="en-US" sz="8000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endParaRPr kumimoji="0" lang="en-US" sz="8000" i="0" u="none" strike="noStrike" kern="1200" cap="none" spc="0" normalizeH="0" baseline="0" noProof="0" dirty="0">
              <a:ln>
                <a:noFill/>
              </a:ln>
              <a:solidFill>
                <a:srgbClr val="65AC1E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0" marR="0" lvl="0" indent="0" algn="l" defTabSz="914218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8000" b="1" dirty="0">
                <a:solidFill>
                  <a:srgbClr val="65AC1E"/>
                </a:solidFill>
                <a:latin typeface="Arial" panose="020B0604020202020204"/>
                <a:cs typeface="Arial"/>
              </a:rPr>
              <a:t>P</a:t>
            </a:r>
            <a:r>
              <a:rPr kumimoji="0" lang="en-US" sz="8000" b="1" i="0" u="none" strike="noStrike" kern="1200" cap="none" spc="0" normalizeH="0" baseline="0" noProof="0" dirty="0" err="1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osizionamento</a:t>
            </a:r>
            <a:r>
              <a:rPr kumimoji="0" lang="en-US" sz="80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e </a:t>
            </a:r>
            <a:r>
              <a:rPr kumimoji="0" lang="en-US" sz="8000" b="1" i="0" u="none" strike="noStrike" kern="1200" cap="none" spc="0" normalizeH="0" baseline="0" noProof="0" dirty="0" err="1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vantaggi</a:t>
            </a:r>
            <a:endParaRPr kumimoji="0" lang="en-US" sz="8000" b="1" i="0" u="none" strike="noStrike" kern="1200" cap="none" spc="0" normalizeH="0" baseline="0" noProof="0" dirty="0">
              <a:ln>
                <a:noFill/>
              </a:ln>
              <a:solidFill>
                <a:srgbClr val="65AC1E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8" name="Grafik 12">
            <a:extLst>
              <a:ext uri="{FF2B5EF4-FFF2-40B4-BE49-F238E27FC236}">
                <a16:creationId xmlns:a16="http://schemas.microsoft.com/office/drawing/2014/main" id="{773DA2CC-09E4-0F91-FCD7-CCA15EB03E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0410" y="2209591"/>
            <a:ext cx="1619344" cy="586646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E63A0D-3764-2559-DC6B-8F17764F68A3}"/>
              </a:ext>
            </a:extLst>
          </p:cNvPr>
          <p:cNvSpPr txBox="1"/>
          <p:nvPr/>
        </p:nvSpPr>
        <p:spPr>
          <a:xfrm>
            <a:off x="236300" y="5848940"/>
            <a:ext cx="520724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rgbClr val="FFFFFF"/>
                </a:solidFill>
                <a:latin typeface="Arial" panose="020B0604020202020204"/>
                <a:cs typeface="Arial"/>
              </a:rPr>
              <a:t>P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rodotto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autorizzato per usi emergenziali (art.53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rgbClr val="FFFFFF"/>
                </a:solidFill>
                <a:latin typeface="Arial" panose="020B0604020202020204"/>
                <a:cs typeface="Arial"/>
              </a:rPr>
              <a:t>dal 15 aprile al 12 agosto 2026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8959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EDE53-A1ED-6819-5DB9-280D07F8DE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abella 20">
            <a:extLst>
              <a:ext uri="{FF2B5EF4-FFF2-40B4-BE49-F238E27FC236}">
                <a16:creationId xmlns:a16="http://schemas.microsoft.com/office/drawing/2014/main" id="{4F7A3C4F-31AD-EB80-D763-5AB247067CAB}"/>
              </a:ext>
            </a:extLst>
          </p:cNvPr>
          <p:cNvGraphicFramePr>
            <a:graphicFrameLocks noGrp="1"/>
          </p:cNvGraphicFramePr>
          <p:nvPr/>
        </p:nvGraphicFramePr>
        <p:xfrm>
          <a:off x="888997" y="1278902"/>
          <a:ext cx="1043811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3811">
                  <a:extLst>
                    <a:ext uri="{9D8B030D-6E8A-4147-A177-3AD203B41FA5}">
                      <a16:colId xmlns:a16="http://schemas.microsoft.com/office/drawing/2014/main" val="2887289562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1484269429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3809243957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1911966789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2673117784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97863151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2249768121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2116428592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3312453402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17029059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marz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aprile</a:t>
                      </a:r>
                      <a:endParaRPr lang="it-IT" dirty="0"/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maggio</a:t>
                      </a:r>
                      <a:endParaRPr lang="it-IT" dirty="0"/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giugno</a:t>
                      </a:r>
                      <a:endParaRPr lang="it-IT" dirty="0"/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luglio</a:t>
                      </a:r>
                      <a:endParaRPr lang="it-IT" dirty="0"/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agosto</a:t>
                      </a:r>
                      <a:endParaRPr kumimoji="0" lang="it-IT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settembre</a:t>
                      </a:r>
                      <a:endParaRPr kumimoji="0" lang="it-IT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ottobr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novembr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dicembr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4025206"/>
                  </a:ext>
                </a:extLst>
              </a:tr>
            </a:tbl>
          </a:graphicData>
        </a:graphic>
      </p:graphicFrame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58490B9-0BBE-6CDE-A5F1-01449D8E0A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06" imgH="306" progId="TCLayout.ActiveDocument.1">
                  <p:embed/>
                </p:oleObj>
              </mc:Choice>
              <mc:Fallback>
                <p:oleObj name="Diapositiva think-cell" r:id="rId5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8490B9-0BBE-6CDE-A5F1-01449D8E0A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74EBAF9A-E8A8-D0BA-439B-9A544E991686}"/>
              </a:ext>
            </a:extLst>
          </p:cNvPr>
          <p:cNvSpPr txBox="1"/>
          <p:nvPr/>
        </p:nvSpPr>
        <p:spPr>
          <a:xfrm>
            <a:off x="6421229" y="6953681"/>
            <a:ext cx="65" cy="2769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1" name="CasellaDiTesto 70">
            <a:extLst>
              <a:ext uri="{FF2B5EF4-FFF2-40B4-BE49-F238E27FC236}">
                <a16:creationId xmlns:a16="http://schemas.microsoft.com/office/drawing/2014/main" id="{127BCC8E-CF65-A566-7B92-DCFDD588C8A1}"/>
              </a:ext>
            </a:extLst>
          </p:cNvPr>
          <p:cNvSpPr txBox="1"/>
          <p:nvPr/>
        </p:nvSpPr>
        <p:spPr>
          <a:xfrm>
            <a:off x="9833836" y="7432083"/>
            <a:ext cx="65" cy="2769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cxnSp>
        <p:nvCxnSpPr>
          <p:cNvPr id="2" name="Straight Connector 10">
            <a:extLst>
              <a:ext uri="{FF2B5EF4-FFF2-40B4-BE49-F238E27FC236}">
                <a16:creationId xmlns:a16="http://schemas.microsoft.com/office/drawing/2014/main" id="{DB0CB1BB-ECFC-166F-5EDD-2F673D834862}"/>
              </a:ext>
            </a:extLst>
          </p:cNvPr>
          <p:cNvCxnSpPr>
            <a:cxnSpLocks/>
          </p:cNvCxnSpPr>
          <p:nvPr/>
        </p:nvCxnSpPr>
        <p:spPr>
          <a:xfrm flipH="1">
            <a:off x="391292" y="1161452"/>
            <a:ext cx="1049105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e 63">
            <a:extLst>
              <a:ext uri="{FF2B5EF4-FFF2-40B4-BE49-F238E27FC236}">
                <a16:creationId xmlns:a16="http://schemas.microsoft.com/office/drawing/2014/main" id="{E39110E4-AF38-4468-384C-624C43520E00}"/>
              </a:ext>
            </a:extLst>
          </p:cNvPr>
          <p:cNvSpPr/>
          <p:nvPr/>
        </p:nvSpPr>
        <p:spPr>
          <a:xfrm>
            <a:off x="-932429" y="4955511"/>
            <a:ext cx="3162538" cy="3162538"/>
          </a:xfrm>
          <a:prstGeom prst="ellipse">
            <a:avLst/>
          </a:prstGeom>
          <a:solidFill>
            <a:schemeClr val="accent1">
              <a:alpha val="92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9" name="Ovale 68">
            <a:extLst>
              <a:ext uri="{FF2B5EF4-FFF2-40B4-BE49-F238E27FC236}">
                <a16:creationId xmlns:a16="http://schemas.microsoft.com/office/drawing/2014/main" id="{B704226F-9F6D-3857-DA23-592DA6DBBE1C}"/>
              </a:ext>
            </a:extLst>
          </p:cNvPr>
          <p:cNvSpPr/>
          <p:nvPr/>
        </p:nvSpPr>
        <p:spPr>
          <a:xfrm>
            <a:off x="-127000" y="5463000"/>
            <a:ext cx="5575265" cy="5575265"/>
          </a:xfrm>
          <a:prstGeom prst="ellipse">
            <a:avLst/>
          </a:prstGeom>
          <a:solidFill>
            <a:schemeClr val="accent1">
              <a:alpha val="92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2" name="Ovale 31">
            <a:extLst>
              <a:ext uri="{FF2B5EF4-FFF2-40B4-BE49-F238E27FC236}">
                <a16:creationId xmlns:a16="http://schemas.microsoft.com/office/drawing/2014/main" id="{526CB8B3-9EC4-C1B2-28A6-FA3D16A4AD6E}"/>
              </a:ext>
            </a:extLst>
          </p:cNvPr>
          <p:cNvSpPr/>
          <p:nvPr/>
        </p:nvSpPr>
        <p:spPr>
          <a:xfrm>
            <a:off x="9851804" y="-1649860"/>
            <a:ext cx="3162538" cy="3162538"/>
          </a:xfrm>
          <a:prstGeom prst="ellipse">
            <a:avLst/>
          </a:prstGeom>
          <a:solidFill>
            <a:schemeClr val="accent1">
              <a:alpha val="92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A7AEDF0E-57C9-61A1-9D7E-BD38D395EC3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1291" y="392469"/>
            <a:ext cx="11677650" cy="68480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218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Strategi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 di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difesa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 da </a:t>
            </a: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Aonidiella </a:t>
            </a:r>
            <a:r>
              <a:rPr kumimoji="0" lang="en-US" sz="2800" b="1" i="1" u="none" strike="noStrike" kern="1200" cap="none" spc="0" normalizeH="0" baseline="0" noProof="0" dirty="0" err="1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aurantii</a:t>
            </a: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01793A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7C5DB53D-FDB7-8BEF-378F-B083D35CDF4F}"/>
              </a:ext>
            </a:extLst>
          </p:cNvPr>
          <p:cNvSpPr txBox="1">
            <a:spLocks/>
          </p:cNvSpPr>
          <p:nvPr/>
        </p:nvSpPr>
        <p:spPr>
          <a:xfrm>
            <a:off x="362062" y="1839782"/>
            <a:ext cx="1115855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llungamen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germogli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C567702B-823E-8AA4-4E0D-B6684BCBD920}"/>
              </a:ext>
            </a:extLst>
          </p:cNvPr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2062" y="2205690"/>
            <a:ext cx="1115855" cy="1151850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6C0864EA-F665-5E53-6599-97B68CCEB0EB}"/>
              </a:ext>
            </a:extLst>
          </p:cNvPr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86931" y="2199735"/>
            <a:ext cx="1115855" cy="115185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C04B912B-1246-9D00-181F-EDC9A3ED361D}"/>
              </a:ext>
            </a:extLst>
          </p:cNvPr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51" t="787" r="21974" b="-787"/>
          <a:stretch>
            <a:fillRect/>
          </a:stretch>
        </p:blipFill>
        <p:spPr>
          <a:xfrm>
            <a:off x="1531048" y="2205704"/>
            <a:ext cx="591123" cy="1151850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50796FE5-EF0B-07BD-B43A-CBEF57726E11}"/>
              </a:ext>
            </a:extLst>
          </p:cNvPr>
          <p:cNvSpPr txBox="1">
            <a:spLocks/>
          </p:cNvSpPr>
          <p:nvPr/>
        </p:nvSpPr>
        <p:spPr>
          <a:xfrm>
            <a:off x="1531049" y="1839782"/>
            <a:ext cx="591122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Botton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fiorali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27D4DFB-94F9-BD8D-C18F-1A212A0596B4}"/>
              </a:ext>
            </a:extLst>
          </p:cNvPr>
          <p:cNvSpPr txBox="1">
            <a:spLocks/>
          </p:cNvSpPr>
          <p:nvPr/>
        </p:nvSpPr>
        <p:spPr>
          <a:xfrm>
            <a:off x="2198247" y="1845737"/>
            <a:ext cx="632129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Fioritura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DF276693-4305-BA77-7D8F-FE4A68BE21C0}"/>
              </a:ext>
            </a:extLst>
          </p:cNvPr>
          <p:cNvSpPr txBox="1">
            <a:spLocks/>
          </p:cNvSpPr>
          <p:nvPr/>
        </p:nvSpPr>
        <p:spPr>
          <a:xfrm>
            <a:off x="2897049" y="1845737"/>
            <a:ext cx="678850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llegagione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BD2AE20-9CB9-DEA5-269C-939AB9658380}"/>
              </a:ext>
            </a:extLst>
          </p:cNvPr>
          <p:cNvSpPr txBox="1">
            <a:spLocks/>
          </p:cNvSpPr>
          <p:nvPr/>
        </p:nvSpPr>
        <p:spPr>
          <a:xfrm>
            <a:off x="3648264" y="1845737"/>
            <a:ext cx="1854636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ccrescimen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frutti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7A8CD785-E66E-B5B8-6067-6B9B526F3FD4}"/>
              </a:ext>
            </a:extLst>
          </p:cNvPr>
          <p:cNvSpPr txBox="1">
            <a:spLocks/>
          </p:cNvSpPr>
          <p:nvPr/>
        </p:nvSpPr>
        <p:spPr>
          <a:xfrm>
            <a:off x="5575265" y="1845737"/>
            <a:ext cx="2626164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Svilupp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dei frutti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00CE6724-F039-8F1D-3BAF-5D5FCDB40437}"/>
              </a:ext>
            </a:extLst>
          </p:cNvPr>
          <p:cNvSpPr txBox="1">
            <a:spLocks/>
          </p:cNvSpPr>
          <p:nvPr/>
        </p:nvSpPr>
        <p:spPr>
          <a:xfrm>
            <a:off x="8273794" y="1847997"/>
            <a:ext cx="3078713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Maturazione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B389183E-1B25-2456-D350-6D749D49FFD8}"/>
              </a:ext>
            </a:extLst>
          </p:cNvPr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85" r="20866"/>
          <a:stretch>
            <a:fillRect/>
          </a:stretch>
        </p:blipFill>
        <p:spPr>
          <a:xfrm>
            <a:off x="2200083" y="2205690"/>
            <a:ext cx="632129" cy="1151850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94A17730-045B-B88B-A7C1-C510309B3293}"/>
              </a:ext>
            </a:extLst>
          </p:cNvPr>
          <p:cNvPicPr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686" r="17312"/>
          <a:stretch>
            <a:fillRect/>
          </a:stretch>
        </p:blipFill>
        <p:spPr>
          <a:xfrm>
            <a:off x="2895213" y="2205690"/>
            <a:ext cx="680686" cy="1151850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B2F315A1-2138-2BA5-05CA-DECD3B562943}"/>
              </a:ext>
            </a:extLst>
          </p:cNvPr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17654" y="2207950"/>
            <a:ext cx="1115855" cy="1151850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8677B44C-3D47-1D06-33FC-341DE73617A6}"/>
              </a:ext>
            </a:extLst>
          </p:cNvPr>
          <p:cNvPicPr>
            <a:picLocks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255222" y="2213956"/>
            <a:ext cx="1115855" cy="1151850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74CCE434-B386-5772-4A13-7234389C0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820710">
            <a:off x="10489986" y="703481"/>
            <a:ext cx="377979" cy="398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E3B4E37-A38B-00A4-5C80-EF4460047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933332">
            <a:off x="10716515" y="240192"/>
            <a:ext cx="377979" cy="398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99F72D18-F70B-BC0D-6DEF-DBD38166B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960027">
            <a:off x="10975624" y="722501"/>
            <a:ext cx="377979" cy="398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ttangolo 22">
            <a:extLst>
              <a:ext uri="{FF2B5EF4-FFF2-40B4-BE49-F238E27FC236}">
                <a16:creationId xmlns:a16="http://schemas.microsoft.com/office/drawing/2014/main" id="{8BAE49CF-3D09-0859-F106-5C78D3ECCFB2}"/>
              </a:ext>
            </a:extLst>
          </p:cNvPr>
          <p:cNvSpPr/>
          <p:nvPr/>
        </p:nvSpPr>
        <p:spPr>
          <a:xfrm>
            <a:off x="0" y="3336931"/>
            <a:ext cx="3553829" cy="380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Generazione svernante</a:t>
            </a: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47E1AB57-A4FC-3A2A-99FA-432FED8AF902}"/>
              </a:ext>
            </a:extLst>
          </p:cNvPr>
          <p:cNvSpPr/>
          <p:nvPr/>
        </p:nvSpPr>
        <p:spPr>
          <a:xfrm>
            <a:off x="6953029" y="4094349"/>
            <a:ext cx="5237251" cy="380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3° / 4°  generazione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(svernante)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B278B126-BA50-C568-5528-BB287239B8BD}"/>
              </a:ext>
            </a:extLst>
          </p:cNvPr>
          <p:cNvSpPr/>
          <p:nvPr/>
        </p:nvSpPr>
        <p:spPr>
          <a:xfrm>
            <a:off x="5237382" y="3841877"/>
            <a:ext cx="2484218" cy="38056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° generazione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99A13739-5327-D76B-2D6D-18CE2FBBE0A2}"/>
              </a:ext>
            </a:extLst>
          </p:cNvPr>
          <p:cNvSpPr/>
          <p:nvPr/>
        </p:nvSpPr>
        <p:spPr>
          <a:xfrm>
            <a:off x="3064361" y="3589404"/>
            <a:ext cx="2626163" cy="380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° generazione</a:t>
            </a:r>
          </a:p>
        </p:txBody>
      </p:sp>
      <p:sp>
        <p:nvSpPr>
          <p:cNvPr id="3" name="Freccia a destra 2">
            <a:extLst>
              <a:ext uri="{FF2B5EF4-FFF2-40B4-BE49-F238E27FC236}">
                <a16:creationId xmlns:a16="http://schemas.microsoft.com/office/drawing/2014/main" id="{6DA31C0B-59EC-3BD3-44EB-42B801E36968}"/>
              </a:ext>
            </a:extLst>
          </p:cNvPr>
          <p:cNvSpPr/>
          <p:nvPr/>
        </p:nvSpPr>
        <p:spPr>
          <a:xfrm rot="16200000">
            <a:off x="5610196" y="4251108"/>
            <a:ext cx="565338" cy="508000"/>
          </a:xfrm>
          <a:prstGeom prst="rightArrow">
            <a:avLst/>
          </a:prstGeom>
          <a:solidFill>
            <a:srgbClr val="017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F4E2E237-1097-BC97-F133-BACA2C97175F}"/>
              </a:ext>
            </a:extLst>
          </p:cNvPr>
          <p:cNvSpPr txBox="1"/>
          <p:nvPr/>
        </p:nvSpPr>
        <p:spPr>
          <a:xfrm>
            <a:off x="4588281" y="4807745"/>
            <a:ext cx="2626164" cy="9848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Il trattamento chiave è quello della seconda generazione, per prevenire l’infestazione su frutti</a:t>
            </a:r>
          </a:p>
        </p:txBody>
      </p:sp>
      <p:sp>
        <p:nvSpPr>
          <p:cNvPr id="33" name="Freccia a destra 32">
            <a:extLst>
              <a:ext uri="{FF2B5EF4-FFF2-40B4-BE49-F238E27FC236}">
                <a16:creationId xmlns:a16="http://schemas.microsoft.com/office/drawing/2014/main" id="{9F65BA3D-98F8-C9C6-08E6-70E870606E4D}"/>
              </a:ext>
            </a:extLst>
          </p:cNvPr>
          <p:cNvSpPr/>
          <p:nvPr/>
        </p:nvSpPr>
        <p:spPr>
          <a:xfrm rot="16200000">
            <a:off x="3633124" y="4331436"/>
            <a:ext cx="404682" cy="508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0711BD70-A975-4F02-3E96-AAA4F7D49E15}"/>
              </a:ext>
            </a:extLst>
          </p:cNvPr>
          <p:cNvSpPr txBox="1"/>
          <p:nvPr/>
        </p:nvSpPr>
        <p:spPr>
          <a:xfrm>
            <a:off x="1104900" y="5053966"/>
            <a:ext cx="2912754" cy="7386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Un trattamento in prima generazione può contribuire al contenimento della popolazione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BF5ADFA2-3429-7959-D25F-1446A41CBFEE}"/>
              </a:ext>
            </a:extLst>
          </p:cNvPr>
          <p:cNvSpPr txBox="1"/>
          <p:nvPr/>
        </p:nvSpPr>
        <p:spPr>
          <a:xfrm>
            <a:off x="7712480" y="5053966"/>
            <a:ext cx="3640027" cy="7386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In caso di elevata infestazione, si possono rendere necessarie ribattute successive</a:t>
            </a:r>
          </a:p>
        </p:txBody>
      </p:sp>
      <p:sp>
        <p:nvSpPr>
          <p:cNvPr id="42" name="Freccia a destra 41">
            <a:extLst>
              <a:ext uri="{FF2B5EF4-FFF2-40B4-BE49-F238E27FC236}">
                <a16:creationId xmlns:a16="http://schemas.microsoft.com/office/drawing/2014/main" id="{3C724A78-FCCB-CE7E-5C3A-74F4B8EFA550}"/>
              </a:ext>
            </a:extLst>
          </p:cNvPr>
          <p:cNvSpPr/>
          <p:nvPr/>
        </p:nvSpPr>
        <p:spPr>
          <a:xfrm rot="16200000">
            <a:off x="7709824" y="4331436"/>
            <a:ext cx="404682" cy="508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64704F44-A3FE-1863-9AF0-A882662995A6}"/>
              </a:ext>
            </a:extLst>
          </p:cNvPr>
          <p:cNvSpPr txBox="1"/>
          <p:nvPr/>
        </p:nvSpPr>
        <p:spPr>
          <a:xfrm>
            <a:off x="736052" y="6327584"/>
            <a:ext cx="8268181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È possibile l’integrazione con confusione sessuale</a:t>
            </a: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AC499B41-AC2F-6EF8-AEC2-00DC944EDE35}"/>
              </a:ext>
            </a:extLst>
          </p:cNvPr>
          <p:cNvSpPr/>
          <p:nvPr/>
        </p:nvSpPr>
        <p:spPr>
          <a:xfrm flipV="1">
            <a:off x="5271097" y="6662377"/>
            <a:ext cx="1562839" cy="195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7245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5BF88C-7E1E-5535-4E70-93A2A795DA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e 4">
            <a:extLst>
              <a:ext uri="{FF2B5EF4-FFF2-40B4-BE49-F238E27FC236}">
                <a16:creationId xmlns:a16="http://schemas.microsoft.com/office/drawing/2014/main" id="{96376C1B-B970-D70D-BFF6-6B1A28B0F359}"/>
              </a:ext>
            </a:extLst>
          </p:cNvPr>
          <p:cNvSpPr/>
          <p:nvPr/>
        </p:nvSpPr>
        <p:spPr>
          <a:xfrm>
            <a:off x="7777867" y="-5389905"/>
            <a:ext cx="7235440" cy="7235440"/>
          </a:xfrm>
          <a:prstGeom prst="ellipse">
            <a:avLst/>
          </a:prstGeom>
          <a:solidFill>
            <a:schemeClr val="accent1">
              <a:alpha val="92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B3A81D99-3E83-CEED-D75A-AC3B541DB04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1291" y="392469"/>
            <a:ext cx="11677650" cy="68480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 defTabSz="914218"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Efficon</a:t>
            </a:r>
            <a:r>
              <a:rPr kumimoji="0" lang="en-US" sz="2800" b="1" i="0" u="none" strike="noStrike" kern="1200" cap="none" spc="0" normalizeH="0" baseline="3000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®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lang="en-US" sz="2800" dirty="0">
                <a:solidFill>
                  <a:srgbClr val="01793B"/>
                </a:solidFill>
              </a:rPr>
              <a:t>Orange</a:t>
            </a: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Risultati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prova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2023 Sagea Sicilia - Target: </a:t>
            </a:r>
            <a:r>
              <a:rPr kumimoji="0" lang="de-DE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Aonidiella</a:t>
            </a:r>
            <a:endParaRPr kumimoji="0" lang="de-DE" sz="1800" b="0" i="1" u="none" strike="noStrike" kern="1200" cap="none" spc="0" normalizeH="0" baseline="0" noProof="0" dirty="0">
              <a:ln>
                <a:noFill/>
              </a:ln>
              <a:solidFill>
                <a:srgbClr val="01793A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69B4A46F-E39F-DE55-0486-39ED5AB2F47A}"/>
              </a:ext>
            </a:extLst>
          </p:cNvPr>
          <p:cNvSpPr txBox="1"/>
          <p:nvPr/>
        </p:nvSpPr>
        <p:spPr>
          <a:xfrm>
            <a:off x="310522" y="6023900"/>
            <a:ext cx="8708479" cy="3692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356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calità: 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ntini (SR) 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rietà: 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rancio Moro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| Prova parcellare a blocchi randomizzati con 4 repliche | Contractor: 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gea Sicilia</a:t>
            </a:r>
          </a:p>
          <a:p>
            <a:pPr marL="0" marR="0" lvl="0" indent="0" algn="l" defTabSz="356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olume d’acqua: 1000 L/ha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961B9BF1-B9D0-62AE-022E-2FEEC8E4A25A}"/>
              </a:ext>
            </a:extLst>
          </p:cNvPr>
          <p:cNvSpPr/>
          <p:nvPr/>
        </p:nvSpPr>
        <p:spPr>
          <a:xfrm>
            <a:off x="9172876" y="5921283"/>
            <a:ext cx="3024238" cy="9358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B21DB8B5-33F6-2E76-847C-99B69DB8E8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46175" y="1946560"/>
            <a:ext cx="4366475" cy="3971397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6C3DEE23-5BC4-BA43-B481-7E0BC511684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9532" y="1946559"/>
            <a:ext cx="4373045" cy="3971396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68424F16-9C2C-3283-C023-A354ACD61717}"/>
              </a:ext>
            </a:extLst>
          </p:cNvPr>
          <p:cNvSpPr/>
          <p:nvPr/>
        </p:nvSpPr>
        <p:spPr>
          <a:xfrm>
            <a:off x="346174" y="1555186"/>
            <a:ext cx="4373044" cy="4093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xalion</a:t>
            </a:r>
            <a:r>
              <a:rPr kumimoji="0" lang="it-IT" sz="18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®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Active + Olio minerale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CEE8BA5E-E823-4383-9845-CD4D345C1AAC}"/>
              </a:ext>
            </a:extLst>
          </p:cNvPr>
          <p:cNvSpPr/>
          <p:nvPr/>
        </p:nvSpPr>
        <p:spPr>
          <a:xfrm>
            <a:off x="5669533" y="1555186"/>
            <a:ext cx="4373044" cy="4093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Testimone</a:t>
            </a:r>
          </a:p>
        </p:txBody>
      </p:sp>
      <p:cxnSp>
        <p:nvCxnSpPr>
          <p:cNvPr id="12" name="Straight Connector 10">
            <a:extLst>
              <a:ext uri="{FF2B5EF4-FFF2-40B4-BE49-F238E27FC236}">
                <a16:creationId xmlns:a16="http://schemas.microsoft.com/office/drawing/2014/main" id="{D4931DD0-DEC3-B2EE-7CB0-E312A0FD555D}"/>
              </a:ext>
            </a:extLst>
          </p:cNvPr>
          <p:cNvCxnSpPr>
            <a:cxnSpLocks/>
          </p:cNvCxnSpPr>
          <p:nvPr/>
        </p:nvCxnSpPr>
        <p:spPr>
          <a:xfrm flipH="1">
            <a:off x="391292" y="1301152"/>
            <a:ext cx="1049105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ttangolo 2">
            <a:extLst>
              <a:ext uri="{FF2B5EF4-FFF2-40B4-BE49-F238E27FC236}">
                <a16:creationId xmlns:a16="http://schemas.microsoft.com/office/drawing/2014/main" id="{FAF572B6-54CC-635B-CB3F-2BF47256B91D}"/>
              </a:ext>
            </a:extLst>
          </p:cNvPr>
          <p:cNvSpPr/>
          <p:nvPr/>
        </p:nvSpPr>
        <p:spPr>
          <a:xfrm>
            <a:off x="5613722" y="6663843"/>
            <a:ext cx="904390" cy="138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1535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e 8">
            <a:extLst>
              <a:ext uri="{FF2B5EF4-FFF2-40B4-BE49-F238E27FC236}">
                <a16:creationId xmlns:a16="http://schemas.microsoft.com/office/drawing/2014/main" id="{01A064DF-5FCE-A9ED-0185-D09C798A79B2}"/>
              </a:ext>
            </a:extLst>
          </p:cNvPr>
          <p:cNvSpPr/>
          <p:nvPr/>
        </p:nvSpPr>
        <p:spPr>
          <a:xfrm>
            <a:off x="7777867" y="-5389905"/>
            <a:ext cx="7235440" cy="7235440"/>
          </a:xfrm>
          <a:prstGeom prst="ellipse">
            <a:avLst/>
          </a:prstGeom>
          <a:solidFill>
            <a:schemeClr val="accent1">
              <a:alpha val="92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graphicFrame>
        <p:nvGraphicFramePr>
          <p:cNvPr id="3" name="Tabella 12">
            <a:extLst>
              <a:ext uri="{FF2B5EF4-FFF2-40B4-BE49-F238E27FC236}">
                <a16:creationId xmlns:a16="http://schemas.microsoft.com/office/drawing/2014/main" id="{1EB48341-887C-20E3-3740-C10547244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731642"/>
              </p:ext>
            </p:extLst>
          </p:nvPr>
        </p:nvGraphicFramePr>
        <p:xfrm>
          <a:off x="300939" y="1469299"/>
          <a:ext cx="11356143" cy="442585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50076">
                  <a:extLst>
                    <a:ext uri="{9D8B030D-6E8A-4147-A177-3AD203B41FA5}">
                      <a16:colId xmlns:a16="http://schemas.microsoft.com/office/drawing/2014/main" val="4258278122"/>
                    </a:ext>
                  </a:extLst>
                </a:gridCol>
                <a:gridCol w="9906067">
                  <a:extLst>
                    <a:ext uri="{9D8B030D-6E8A-4147-A177-3AD203B41FA5}">
                      <a16:colId xmlns:a16="http://schemas.microsoft.com/office/drawing/2014/main" val="1477625810"/>
                    </a:ext>
                  </a:extLst>
                </a:gridCol>
              </a:tblGrid>
              <a:tr h="938827">
                <a:tc>
                  <a:txBody>
                    <a:bodyPr/>
                    <a:lstStyle/>
                    <a:p>
                      <a:pPr algn="ctr"/>
                      <a:r>
                        <a:rPr lang="it-IT" sz="1800" dirty="0"/>
                        <a:t>Trt</a:t>
                      </a:r>
                    </a:p>
                  </a:txBody>
                  <a:tcPr marL="24917" marR="24917" marT="35995" marB="359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kern="100" dirty="0">
                          <a:solidFill>
                            <a:schemeClr val="bg1"/>
                          </a:solidFill>
                          <a:effectLst/>
                        </a:rPr>
                        <a:t>(A)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000" kern="100" dirty="0">
                          <a:solidFill>
                            <a:schemeClr val="bg1"/>
                          </a:solidFill>
                          <a:effectLst/>
                        </a:rPr>
                        <a:t>Prime </a:t>
                      </a:r>
                      <a:r>
                        <a:rPr lang="en-GB" sz="2000" kern="100" dirty="0" err="1">
                          <a:solidFill>
                            <a:schemeClr val="bg1"/>
                          </a:solidFill>
                          <a:effectLst/>
                        </a:rPr>
                        <a:t>migrazione</a:t>
                      </a:r>
                      <a:r>
                        <a:rPr lang="en-GB" sz="2000" kern="100" dirty="0">
                          <a:solidFill>
                            <a:schemeClr val="bg1"/>
                          </a:solidFill>
                          <a:effectLst/>
                        </a:rPr>
                        <a:t> sui </a:t>
                      </a:r>
                      <a:r>
                        <a:rPr lang="en-GB" sz="2000" kern="100" dirty="0" err="1">
                          <a:solidFill>
                            <a:schemeClr val="bg1"/>
                          </a:solidFill>
                          <a:effectLst/>
                        </a:rPr>
                        <a:t>frutti</a:t>
                      </a:r>
                      <a:endParaRPr lang="en-GB" sz="2000" kern="1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0" marR="0" lvl="0" indent="0" algn="ctr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100" dirty="0">
                          <a:solidFill>
                            <a:schemeClr val="bg1"/>
                          </a:solidFill>
                          <a:effectLst/>
                        </a:rPr>
                        <a:t>12 </a:t>
                      </a:r>
                      <a:r>
                        <a:rPr lang="en-GB" sz="1600" b="1" kern="100" dirty="0" err="1">
                          <a:solidFill>
                            <a:schemeClr val="bg1"/>
                          </a:solidFill>
                          <a:effectLst/>
                        </a:rPr>
                        <a:t>luglio</a:t>
                      </a:r>
                      <a:r>
                        <a:rPr lang="en-GB" sz="16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6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BCH 72-74)</a:t>
                      </a:r>
                      <a:endParaRPr lang="it-IT" sz="16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917" marR="24917" marT="35995" marB="35995" anchor="ctr"/>
                </a:tc>
                <a:extLst>
                  <a:ext uri="{0D108BD9-81ED-4DB2-BD59-A6C34878D82A}">
                    <a16:rowId xmlns:a16="http://schemas.microsoft.com/office/drawing/2014/main" val="796636536"/>
                  </a:ext>
                </a:extLst>
              </a:tr>
              <a:tr h="697405"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/>
                        <a:t>1</a:t>
                      </a:r>
                    </a:p>
                  </a:txBody>
                  <a:tcPr marL="24917" marR="24917" marT="35995" marB="35995" anchor="ctr"/>
                </a:tc>
                <a:tc>
                  <a:txBody>
                    <a:bodyPr/>
                    <a:lstStyle/>
                    <a:p>
                      <a:pPr marL="0" marR="0" lvl="0" indent="0" algn="ctr" defTabSz="5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>
                          <a:solidFill>
                            <a:srgbClr val="C00000"/>
                          </a:solidFill>
                        </a:rPr>
                        <a:t>- TESTIMONE NON TRATTATO -</a:t>
                      </a:r>
                      <a:endParaRPr lang="it-IT" sz="1800" b="1" kern="1200" dirty="0">
                        <a:solidFill>
                          <a:srgbClr val="C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4917" marR="24917" marT="35995" marB="35995" anchor="ctr"/>
                </a:tc>
                <a:extLst>
                  <a:ext uri="{0D108BD9-81ED-4DB2-BD59-A6C34878D82A}">
                    <a16:rowId xmlns:a16="http://schemas.microsoft.com/office/drawing/2014/main" val="3187485928"/>
                  </a:ext>
                </a:extLst>
              </a:tr>
              <a:tr h="697405"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/>
                        <a:t>2</a:t>
                      </a:r>
                    </a:p>
                  </a:txBody>
                  <a:tcPr marL="24917" marR="24917" marT="35995" marB="35995" anchor="ctr"/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8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93A"/>
                          </a:solidFill>
                          <a:effectLst/>
                          <a:uLnTx/>
                          <a:uFillTx/>
                        </a:rPr>
                        <a:t>EFFICON</a:t>
                      </a:r>
                      <a:r>
                        <a:rPr kumimoji="0" lang="it-IT" sz="1800" b="1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793A"/>
                          </a:solidFill>
                          <a:effectLst/>
                          <a:uLnTx/>
                          <a:uFillTx/>
                        </a:rPr>
                        <a:t>®</a:t>
                      </a:r>
                      <a:r>
                        <a:rPr kumimoji="0" lang="it-IT" sz="14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93A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lang="it-IT" sz="1400" kern="1200" dirty="0">
                          <a:solidFill>
                            <a:schemeClr val="tx1"/>
                          </a:solidFill>
                        </a:rPr>
                        <a:t>0,9 L/ha</a:t>
                      </a:r>
                      <a:endParaRPr lang="it-IT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917" marR="24917" marT="35995" marB="35995" anchor="ctr"/>
                </a:tc>
                <a:extLst>
                  <a:ext uri="{0D108BD9-81ED-4DB2-BD59-A6C34878D82A}">
                    <a16:rowId xmlns:a16="http://schemas.microsoft.com/office/drawing/2014/main" val="135876834"/>
                  </a:ext>
                </a:extLst>
              </a:tr>
              <a:tr h="697405"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/>
                        <a:t>3</a:t>
                      </a:r>
                    </a:p>
                  </a:txBody>
                  <a:tcPr marL="24917" marR="24917" marT="35995" marB="35995" anchor="ctr"/>
                </a:tc>
                <a:tc>
                  <a:txBody>
                    <a:bodyPr/>
                    <a:lstStyle/>
                    <a:p>
                      <a:pPr marL="0" marR="0" lvl="0" indent="0" algn="ctr" defTabSz="9142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8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93A"/>
                          </a:solidFill>
                          <a:effectLst/>
                          <a:uLnTx/>
                          <a:uFillTx/>
                        </a:rPr>
                        <a:t>EFFICON</a:t>
                      </a:r>
                      <a:r>
                        <a:rPr kumimoji="0" lang="it-IT" sz="1800" b="1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793A"/>
                          </a:solidFill>
                          <a:effectLst/>
                          <a:uLnTx/>
                          <a:uFillTx/>
                        </a:rPr>
                        <a:t>®</a:t>
                      </a:r>
                      <a:r>
                        <a:rPr kumimoji="0" lang="it-IT" sz="14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93A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it-IT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0,9 L/ha</a:t>
                      </a:r>
                    </a:p>
                    <a:p>
                      <a:pPr marL="0" marR="0" lvl="0" indent="0" algn="ctr" defTabSz="9142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kern="1200" dirty="0">
                          <a:solidFill>
                            <a:srgbClr val="F39500"/>
                          </a:solidFill>
                        </a:rPr>
                        <a:t>+ </a:t>
                      </a:r>
                      <a:r>
                        <a:rPr lang="it-IT" sz="1800" b="1" kern="1200" dirty="0">
                          <a:solidFill>
                            <a:srgbClr val="F39500"/>
                          </a:solidFill>
                        </a:rPr>
                        <a:t>Essen’ciel™</a:t>
                      </a:r>
                      <a:r>
                        <a:rPr lang="it-IT" sz="1400" b="1" kern="1200" dirty="0">
                          <a:solidFill>
                            <a:srgbClr val="F39500"/>
                          </a:solidFill>
                        </a:rPr>
                        <a:t> </a:t>
                      </a:r>
                      <a:r>
                        <a:rPr lang="it-IT" sz="1400" b="0" kern="1200" dirty="0">
                          <a:solidFill>
                            <a:schemeClr val="tx1"/>
                          </a:solidFill>
                        </a:rPr>
                        <a:t>3 L/ha</a:t>
                      </a:r>
                      <a:endParaRPr lang="it-IT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917" marR="24917" marT="35995" marB="35995" anchor="ctr"/>
                </a:tc>
                <a:extLst>
                  <a:ext uri="{0D108BD9-81ED-4DB2-BD59-A6C34878D82A}">
                    <a16:rowId xmlns:a16="http://schemas.microsoft.com/office/drawing/2014/main" val="1613347024"/>
                  </a:ext>
                </a:extLst>
              </a:tr>
              <a:tr h="697405"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/>
                        <a:t>4</a:t>
                      </a:r>
                    </a:p>
                  </a:txBody>
                  <a:tcPr marL="24917" marR="24917" marT="35995" marB="35995" anchor="ctr"/>
                </a:tc>
                <a:tc>
                  <a:txBody>
                    <a:bodyPr/>
                    <a:lstStyle/>
                    <a:p>
                      <a:pPr marL="0" marR="0" lvl="0" indent="0" algn="ctr" defTabSz="9142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8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93A"/>
                          </a:solidFill>
                          <a:effectLst/>
                          <a:uLnTx/>
                          <a:uFillTx/>
                        </a:rPr>
                        <a:t>EFFICON</a:t>
                      </a:r>
                      <a:r>
                        <a:rPr kumimoji="0" lang="it-IT" sz="1800" b="1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793A"/>
                          </a:solidFill>
                          <a:effectLst/>
                          <a:uLnTx/>
                          <a:uFillTx/>
                        </a:rPr>
                        <a:t>®</a:t>
                      </a:r>
                      <a:r>
                        <a:rPr kumimoji="0" lang="it-IT" sz="14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93A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it-IT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0,9 L/ha</a:t>
                      </a:r>
                    </a:p>
                    <a:p>
                      <a:pPr marL="0" marR="0" lvl="0" indent="0" algn="ctr" defTabSz="9142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kern="1200" dirty="0">
                          <a:solidFill>
                            <a:srgbClr val="7030A0"/>
                          </a:solidFill>
                        </a:rPr>
                        <a:t>+ </a:t>
                      </a:r>
                      <a:r>
                        <a:rPr lang="it-IT" sz="1800" b="1" kern="1200" dirty="0" err="1">
                          <a:solidFill>
                            <a:srgbClr val="7030A0"/>
                          </a:solidFill>
                        </a:rPr>
                        <a:t>Mineral</a:t>
                      </a:r>
                      <a:r>
                        <a:rPr lang="it-IT" sz="1800" b="1" kern="1200" dirty="0">
                          <a:solidFill>
                            <a:srgbClr val="7030A0"/>
                          </a:solidFill>
                        </a:rPr>
                        <a:t> Oil </a:t>
                      </a:r>
                      <a:r>
                        <a:rPr lang="it-IT" sz="1400" b="0" kern="1200" dirty="0">
                          <a:solidFill>
                            <a:schemeClr val="tx1"/>
                          </a:solidFill>
                        </a:rPr>
                        <a:t>250 mL/hl (2,5 L/ha)</a:t>
                      </a:r>
                      <a:endParaRPr lang="it-IT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917" marR="24917" marT="35995" marB="35995" anchor="ctr"/>
                </a:tc>
                <a:extLst>
                  <a:ext uri="{0D108BD9-81ED-4DB2-BD59-A6C34878D82A}">
                    <a16:rowId xmlns:a16="http://schemas.microsoft.com/office/drawing/2014/main" val="2450345884"/>
                  </a:ext>
                </a:extLst>
              </a:tr>
              <a:tr h="697405"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/>
                        <a:t>5</a:t>
                      </a:r>
                    </a:p>
                  </a:txBody>
                  <a:tcPr marL="24917" marR="24917" marT="35995" marB="35995" anchor="ctr"/>
                </a:tc>
                <a:tc>
                  <a:txBody>
                    <a:bodyPr/>
                    <a:lstStyle/>
                    <a:p>
                      <a:pPr marL="0" marR="0" lvl="0" indent="0" algn="ctr" defTabSz="9142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C5A"/>
                          </a:solidFill>
                          <a:effectLst/>
                          <a:uLnTx/>
                          <a:uFillTx/>
                        </a:rPr>
                        <a:t>Acetamiprid</a:t>
                      </a:r>
                      <a:r>
                        <a:rPr kumimoji="0" lang="it-IT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 50 g/L</a:t>
                      </a:r>
                    </a:p>
                    <a:p>
                      <a:pPr marL="0" marR="0" lvl="0" indent="0" algn="ctr" defTabSz="9142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2 L/ha</a:t>
                      </a:r>
                      <a:endParaRPr kumimoji="0" lang="it-IT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917" marR="24917" marT="35995" marB="35995" anchor="ctr"/>
                </a:tc>
                <a:extLst>
                  <a:ext uri="{0D108BD9-81ED-4DB2-BD59-A6C34878D82A}">
                    <a16:rowId xmlns:a16="http://schemas.microsoft.com/office/drawing/2014/main" val="2702646618"/>
                  </a:ext>
                </a:extLst>
              </a:tr>
            </a:tbl>
          </a:graphicData>
        </a:graphic>
      </p:graphicFrame>
      <p:sp>
        <p:nvSpPr>
          <p:cNvPr id="6" name="Titel 1">
            <a:extLst>
              <a:ext uri="{FF2B5EF4-FFF2-40B4-BE49-F238E27FC236}">
                <a16:creationId xmlns:a16="http://schemas.microsoft.com/office/drawing/2014/main" id="{AAA85386-B199-8B77-2FEF-9B7D7045A87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1291" y="392469"/>
            <a:ext cx="11677650" cy="68480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 defTabSz="914218"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Efficon</a:t>
            </a:r>
            <a:r>
              <a:rPr kumimoji="0" lang="en-US" sz="2800" b="1" i="0" u="none" strike="noStrike" kern="1200" cap="none" spc="0" normalizeH="0" baseline="3000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®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lang="en-US" sz="2800" dirty="0">
                <a:solidFill>
                  <a:srgbClr val="01793B"/>
                </a:solidFill>
              </a:rPr>
              <a:t>Orange</a:t>
            </a: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Protocollo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prova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2024 Sagea Sicilia - Target: </a:t>
            </a:r>
            <a:r>
              <a:rPr kumimoji="0" lang="de-DE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Aonidiella</a:t>
            </a:r>
            <a:endParaRPr kumimoji="0" lang="de-DE" sz="1800" b="0" i="1" u="none" strike="noStrike" kern="1200" cap="none" spc="0" normalizeH="0" baseline="0" noProof="0" dirty="0">
              <a:ln>
                <a:noFill/>
              </a:ln>
              <a:solidFill>
                <a:srgbClr val="01793A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7" name="Straight Connector 10">
            <a:extLst>
              <a:ext uri="{FF2B5EF4-FFF2-40B4-BE49-F238E27FC236}">
                <a16:creationId xmlns:a16="http://schemas.microsoft.com/office/drawing/2014/main" id="{C13338BA-4382-3D5B-F413-0B78D62F31A3}"/>
              </a:ext>
            </a:extLst>
          </p:cNvPr>
          <p:cNvCxnSpPr>
            <a:cxnSpLocks/>
          </p:cNvCxnSpPr>
          <p:nvPr/>
        </p:nvCxnSpPr>
        <p:spPr>
          <a:xfrm flipH="1">
            <a:off x="391292" y="1301152"/>
            <a:ext cx="1049105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">
            <a:extLst>
              <a:ext uri="{FF2B5EF4-FFF2-40B4-BE49-F238E27FC236}">
                <a16:creationId xmlns:a16="http://schemas.microsoft.com/office/drawing/2014/main" id="{E1320F3C-D20E-3C95-E1EB-C8E38E9D0DB3}"/>
              </a:ext>
            </a:extLst>
          </p:cNvPr>
          <p:cNvSpPr txBox="1"/>
          <p:nvPr/>
        </p:nvSpPr>
        <p:spPr>
          <a:xfrm>
            <a:off x="300939" y="6067529"/>
            <a:ext cx="8708479" cy="3692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356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calità: 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ntini (SR) 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rietà: 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rancio Moro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| Prova parcellare a blocchi randomizzati con 4 repliche | Contractor: 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gea Sicilia</a:t>
            </a:r>
          </a:p>
          <a:p>
            <a:pPr marL="0" marR="0" lvl="0" indent="0" algn="l" defTabSz="356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olume d’acqua: 1000 L/ha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42D857AB-8C65-BBC7-467F-6DA83C821F3A}"/>
              </a:ext>
            </a:extLst>
          </p:cNvPr>
          <p:cNvSpPr/>
          <p:nvPr/>
        </p:nvSpPr>
        <p:spPr>
          <a:xfrm>
            <a:off x="5613722" y="6663843"/>
            <a:ext cx="904390" cy="138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5B67A9C6-1AD7-E156-2454-F4F083DB6825}"/>
              </a:ext>
            </a:extLst>
          </p:cNvPr>
          <p:cNvSpPr>
            <a:spLocks noChangeAspect="1"/>
          </p:cNvSpPr>
          <p:nvPr/>
        </p:nvSpPr>
        <p:spPr>
          <a:xfrm>
            <a:off x="10767317" y="61518"/>
            <a:ext cx="1301624" cy="130162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60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e 8">
            <a:extLst>
              <a:ext uri="{FF2B5EF4-FFF2-40B4-BE49-F238E27FC236}">
                <a16:creationId xmlns:a16="http://schemas.microsoft.com/office/drawing/2014/main" id="{A323AE89-C897-4369-1D81-44261AA5B581}"/>
              </a:ext>
            </a:extLst>
          </p:cNvPr>
          <p:cNvSpPr/>
          <p:nvPr/>
        </p:nvSpPr>
        <p:spPr>
          <a:xfrm>
            <a:off x="7777867" y="-5389905"/>
            <a:ext cx="7235440" cy="7235440"/>
          </a:xfrm>
          <a:prstGeom prst="ellipse">
            <a:avLst/>
          </a:prstGeom>
          <a:solidFill>
            <a:schemeClr val="accent1">
              <a:alpha val="92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graphicFrame>
        <p:nvGraphicFramePr>
          <p:cNvPr id="2" name="Grafico 1">
            <a:extLst>
              <a:ext uri="{FF2B5EF4-FFF2-40B4-BE49-F238E27FC236}">
                <a16:creationId xmlns:a16="http://schemas.microsoft.com/office/drawing/2014/main" id="{783AE03C-BCC9-2056-D853-D3BADEE30509}"/>
              </a:ext>
            </a:extLst>
          </p:cNvPr>
          <p:cNvGraphicFramePr/>
          <p:nvPr/>
        </p:nvGraphicFramePr>
        <p:xfrm>
          <a:off x="219840" y="1586833"/>
          <a:ext cx="11849101" cy="44349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el 1">
            <a:extLst>
              <a:ext uri="{FF2B5EF4-FFF2-40B4-BE49-F238E27FC236}">
                <a16:creationId xmlns:a16="http://schemas.microsoft.com/office/drawing/2014/main" id="{EB3FB58A-33BD-576F-4048-D6F39BD442A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1291" y="392469"/>
            <a:ext cx="11677650" cy="68480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 defTabSz="914218"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Efficon</a:t>
            </a:r>
            <a:r>
              <a:rPr kumimoji="0" lang="en-US" sz="2800" b="1" i="0" u="none" strike="noStrike" kern="1200" cap="none" spc="0" normalizeH="0" baseline="3000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®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lang="en-US" sz="2800" dirty="0">
                <a:solidFill>
                  <a:srgbClr val="01793B"/>
                </a:solidFill>
              </a:rPr>
              <a:t>Orange</a:t>
            </a: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Risultati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prova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2024 Sagea Sicilia - Target: </a:t>
            </a:r>
            <a:r>
              <a:rPr kumimoji="0" lang="de-DE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Aonidiella</a:t>
            </a:r>
            <a:endParaRPr kumimoji="0" lang="de-DE" sz="1800" b="0" i="1" u="none" strike="noStrike" kern="1200" cap="none" spc="0" normalizeH="0" baseline="0" noProof="0" dirty="0">
              <a:ln>
                <a:noFill/>
              </a:ln>
              <a:solidFill>
                <a:srgbClr val="01793A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ACF78AA3-A5A5-C9F5-428B-E6FB7CEA4651}"/>
              </a:ext>
            </a:extLst>
          </p:cNvPr>
          <p:cNvSpPr txBox="1"/>
          <p:nvPr/>
        </p:nvSpPr>
        <p:spPr>
          <a:xfrm>
            <a:off x="310522" y="5962940"/>
            <a:ext cx="8708479" cy="3692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356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calità: 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ntini (SR) 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rietà: 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rancio Moro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| Prova parcellare a blocchi randomizzati con 4 repliche | Contractor: 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gea Sicilia</a:t>
            </a:r>
          </a:p>
          <a:p>
            <a:pPr marL="0" marR="0" lvl="0" indent="0" algn="l" defTabSz="356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olume d’acqua: 1000 L/ha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5E4D8A51-C2B7-8DAF-4844-A61D0C23D3EA}"/>
              </a:ext>
            </a:extLst>
          </p:cNvPr>
          <p:cNvSpPr txBox="1"/>
          <p:nvPr/>
        </p:nvSpPr>
        <p:spPr>
          <a:xfrm>
            <a:off x="7840893" y="3646076"/>
            <a:ext cx="1599992" cy="430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Miglior tesi in prova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8ECE17BA-A541-3E19-1C35-5BD308535652}"/>
              </a:ext>
            </a:extLst>
          </p:cNvPr>
          <p:cNvSpPr/>
          <p:nvPr/>
        </p:nvSpPr>
        <p:spPr>
          <a:xfrm>
            <a:off x="5613722" y="6663843"/>
            <a:ext cx="904390" cy="138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03BAB96B-F417-82DB-FECC-EE6DAD05C64C}"/>
              </a:ext>
            </a:extLst>
          </p:cNvPr>
          <p:cNvSpPr>
            <a:spLocks noChangeAspect="1"/>
          </p:cNvSpPr>
          <p:nvPr/>
        </p:nvSpPr>
        <p:spPr>
          <a:xfrm>
            <a:off x="10767317" y="61518"/>
            <a:ext cx="1301624" cy="1301624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8747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AB6707-C4ED-A373-B953-6F9B2F386A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abella 20">
            <a:extLst>
              <a:ext uri="{FF2B5EF4-FFF2-40B4-BE49-F238E27FC236}">
                <a16:creationId xmlns:a16="http://schemas.microsoft.com/office/drawing/2014/main" id="{57DD7207-9ABA-3CB8-5F4C-3CC844F63617}"/>
              </a:ext>
            </a:extLst>
          </p:cNvPr>
          <p:cNvGraphicFramePr>
            <a:graphicFrameLocks noGrp="1"/>
          </p:cNvGraphicFramePr>
          <p:nvPr/>
        </p:nvGraphicFramePr>
        <p:xfrm>
          <a:off x="888997" y="1278902"/>
          <a:ext cx="1043811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3811">
                  <a:extLst>
                    <a:ext uri="{9D8B030D-6E8A-4147-A177-3AD203B41FA5}">
                      <a16:colId xmlns:a16="http://schemas.microsoft.com/office/drawing/2014/main" val="2887289562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1484269429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3809243957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1911966789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2673117784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97863151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2249768121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2116428592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3312453402"/>
                    </a:ext>
                  </a:extLst>
                </a:gridCol>
                <a:gridCol w="1043811">
                  <a:extLst>
                    <a:ext uri="{9D8B030D-6E8A-4147-A177-3AD203B41FA5}">
                      <a16:colId xmlns:a16="http://schemas.microsoft.com/office/drawing/2014/main" val="17029059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marz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aprile</a:t>
                      </a:r>
                      <a:endParaRPr lang="it-IT" dirty="0"/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maggio</a:t>
                      </a:r>
                      <a:endParaRPr lang="it-IT" dirty="0"/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giugno</a:t>
                      </a:r>
                      <a:endParaRPr lang="it-IT" dirty="0"/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luglio</a:t>
                      </a:r>
                      <a:endParaRPr lang="it-IT" dirty="0"/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agosto</a:t>
                      </a:r>
                      <a:endParaRPr kumimoji="0" lang="it-IT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settembre</a:t>
                      </a:r>
                      <a:endParaRPr kumimoji="0" lang="it-IT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ottobr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novembr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it-IT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dicembr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4025206"/>
                  </a:ext>
                </a:extLst>
              </a:tr>
            </a:tbl>
          </a:graphicData>
        </a:graphic>
      </p:graphicFrame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110DFEA-2440-4CC1-9613-99BEE6BA47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06" imgH="306" progId="TCLayout.ActiveDocument.1">
                  <p:embed/>
                </p:oleObj>
              </mc:Choice>
              <mc:Fallback>
                <p:oleObj name="Diapositiva think-cell" r:id="rId5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10DFEA-2440-4CC1-9613-99BEE6BA4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8598D741-81A4-4E97-5151-C2F17B32322B}"/>
              </a:ext>
            </a:extLst>
          </p:cNvPr>
          <p:cNvSpPr txBox="1"/>
          <p:nvPr/>
        </p:nvSpPr>
        <p:spPr>
          <a:xfrm>
            <a:off x="6421229" y="6953681"/>
            <a:ext cx="65" cy="2769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1" name="CasellaDiTesto 70">
            <a:extLst>
              <a:ext uri="{FF2B5EF4-FFF2-40B4-BE49-F238E27FC236}">
                <a16:creationId xmlns:a16="http://schemas.microsoft.com/office/drawing/2014/main" id="{DD3BC657-9CB2-8DA7-31E6-C2C1010B007C}"/>
              </a:ext>
            </a:extLst>
          </p:cNvPr>
          <p:cNvSpPr txBox="1"/>
          <p:nvPr/>
        </p:nvSpPr>
        <p:spPr>
          <a:xfrm>
            <a:off x="9833836" y="7432083"/>
            <a:ext cx="65" cy="2769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4" name="Ovale 63">
            <a:extLst>
              <a:ext uri="{FF2B5EF4-FFF2-40B4-BE49-F238E27FC236}">
                <a16:creationId xmlns:a16="http://schemas.microsoft.com/office/drawing/2014/main" id="{904D3F31-A0C4-3B4D-0B46-FA11A2BE3C61}"/>
              </a:ext>
            </a:extLst>
          </p:cNvPr>
          <p:cNvSpPr/>
          <p:nvPr/>
        </p:nvSpPr>
        <p:spPr>
          <a:xfrm>
            <a:off x="-1708398" y="3711440"/>
            <a:ext cx="3162538" cy="3162538"/>
          </a:xfrm>
          <a:prstGeom prst="ellipse">
            <a:avLst/>
          </a:prstGeom>
          <a:solidFill>
            <a:schemeClr val="accent1">
              <a:alpha val="92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9" name="Ovale 68">
            <a:extLst>
              <a:ext uri="{FF2B5EF4-FFF2-40B4-BE49-F238E27FC236}">
                <a16:creationId xmlns:a16="http://schemas.microsoft.com/office/drawing/2014/main" id="{4E5F646B-FB8E-E90B-C0FA-1B39E3B8A136}"/>
              </a:ext>
            </a:extLst>
          </p:cNvPr>
          <p:cNvSpPr/>
          <p:nvPr/>
        </p:nvSpPr>
        <p:spPr>
          <a:xfrm>
            <a:off x="-1435060" y="5479800"/>
            <a:ext cx="5575265" cy="5575265"/>
          </a:xfrm>
          <a:prstGeom prst="ellipse">
            <a:avLst/>
          </a:prstGeom>
          <a:solidFill>
            <a:schemeClr val="accent1">
              <a:alpha val="92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2" name="Ovale 31">
            <a:extLst>
              <a:ext uri="{FF2B5EF4-FFF2-40B4-BE49-F238E27FC236}">
                <a16:creationId xmlns:a16="http://schemas.microsoft.com/office/drawing/2014/main" id="{74352B74-A111-A1A4-3BEB-A59273CEE63F}"/>
              </a:ext>
            </a:extLst>
          </p:cNvPr>
          <p:cNvSpPr/>
          <p:nvPr/>
        </p:nvSpPr>
        <p:spPr>
          <a:xfrm>
            <a:off x="9851804" y="-1649860"/>
            <a:ext cx="3162538" cy="3162538"/>
          </a:xfrm>
          <a:prstGeom prst="ellipse">
            <a:avLst/>
          </a:prstGeom>
          <a:solidFill>
            <a:schemeClr val="accent1">
              <a:alpha val="92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F8F7DB54-AA3C-C5EC-ADA2-D3414A83C30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1292" y="307908"/>
            <a:ext cx="11515428" cy="68480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icon</a:t>
            </a:r>
            <a:r>
              <a:rPr kumimoji="0" lang="en-US" sz="2800" b="1" i="0" u="none" strike="noStrike" kern="1200" cap="none" spc="0" normalizeH="0" baseline="3000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 panose="020B0604020202020204"/>
                <a:cs typeface="Arial"/>
              </a:rPr>
              <a:t>®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Orange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Posizionamento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su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cocciniglia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rossa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forte (</a:t>
            </a:r>
            <a:r>
              <a:rPr kumimoji="0" lang="de-DE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onidiella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)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AAC895EE-EAB2-A1D8-7C30-B115DF2BF8A7}"/>
              </a:ext>
            </a:extLst>
          </p:cNvPr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86931" y="2199735"/>
            <a:ext cx="1115855" cy="115185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F94E2E7F-0F6F-8683-9B15-CB617B2C1B0F}"/>
              </a:ext>
            </a:extLst>
          </p:cNvPr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51" t="787" r="21974" b="-787"/>
          <a:stretch>
            <a:fillRect/>
          </a:stretch>
        </p:blipFill>
        <p:spPr>
          <a:xfrm>
            <a:off x="1531048" y="2205704"/>
            <a:ext cx="591123" cy="1151850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2F8B87EB-ECE3-13CC-4EAE-73193FA50823}"/>
              </a:ext>
            </a:extLst>
          </p:cNvPr>
          <p:cNvSpPr txBox="1">
            <a:spLocks/>
          </p:cNvSpPr>
          <p:nvPr/>
        </p:nvSpPr>
        <p:spPr>
          <a:xfrm>
            <a:off x="1531049" y="1839782"/>
            <a:ext cx="591122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Botton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fiorali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8D05381C-0B37-F4AF-3F2C-C807C41E61C2}"/>
              </a:ext>
            </a:extLst>
          </p:cNvPr>
          <p:cNvSpPr txBox="1">
            <a:spLocks/>
          </p:cNvSpPr>
          <p:nvPr/>
        </p:nvSpPr>
        <p:spPr>
          <a:xfrm>
            <a:off x="2198247" y="1845737"/>
            <a:ext cx="632129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Fioritura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74DCBBCB-B062-F63A-B6DD-9CC5D2302844}"/>
              </a:ext>
            </a:extLst>
          </p:cNvPr>
          <p:cNvSpPr txBox="1">
            <a:spLocks/>
          </p:cNvSpPr>
          <p:nvPr/>
        </p:nvSpPr>
        <p:spPr>
          <a:xfrm>
            <a:off x="2897049" y="1845737"/>
            <a:ext cx="678850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llegagione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04B6437E-37D9-E60D-C718-0257900370B9}"/>
              </a:ext>
            </a:extLst>
          </p:cNvPr>
          <p:cNvSpPr txBox="1">
            <a:spLocks/>
          </p:cNvSpPr>
          <p:nvPr/>
        </p:nvSpPr>
        <p:spPr>
          <a:xfrm>
            <a:off x="3648264" y="1845737"/>
            <a:ext cx="1854636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ccrescimen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frutti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CBB6B143-C8E1-0467-EEA6-D2E054577836}"/>
              </a:ext>
            </a:extLst>
          </p:cNvPr>
          <p:cNvSpPr txBox="1">
            <a:spLocks/>
          </p:cNvSpPr>
          <p:nvPr/>
        </p:nvSpPr>
        <p:spPr>
          <a:xfrm>
            <a:off x="5575265" y="1845737"/>
            <a:ext cx="2626164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Svilupp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dei frutti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744A15A8-EF76-59F6-5B6D-46B78DAE5ED9}"/>
              </a:ext>
            </a:extLst>
          </p:cNvPr>
          <p:cNvSpPr txBox="1">
            <a:spLocks/>
          </p:cNvSpPr>
          <p:nvPr/>
        </p:nvSpPr>
        <p:spPr>
          <a:xfrm>
            <a:off x="8273794" y="1847997"/>
            <a:ext cx="3078713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Maturazione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8FD6EFD7-F297-01AF-0AF4-B273DB87C926}"/>
              </a:ext>
            </a:extLst>
          </p:cNvPr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85" r="20866"/>
          <a:stretch>
            <a:fillRect/>
          </a:stretch>
        </p:blipFill>
        <p:spPr>
          <a:xfrm>
            <a:off x="2200083" y="2205690"/>
            <a:ext cx="632129" cy="1151850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3A8A2057-2C65-1D74-1B11-D102FAE2EC91}"/>
              </a:ext>
            </a:extLst>
          </p:cNvPr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686" r="17312"/>
          <a:stretch>
            <a:fillRect/>
          </a:stretch>
        </p:blipFill>
        <p:spPr>
          <a:xfrm>
            <a:off x="2895213" y="2205690"/>
            <a:ext cx="680686" cy="1151850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2385EDD5-CBD0-8224-96DD-77242C6C21C6}"/>
              </a:ext>
            </a:extLst>
          </p:cNvPr>
          <p:cNvPicPr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17654" y="2207950"/>
            <a:ext cx="1115855" cy="1151850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4ABEB1C9-2362-045F-EC77-47351CC14578}"/>
              </a:ext>
            </a:extLst>
          </p:cNvPr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255222" y="2185081"/>
            <a:ext cx="1115855" cy="1151850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BA254A82-962F-A244-A969-DC906BFD5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820710">
            <a:off x="10489986" y="703481"/>
            <a:ext cx="377979" cy="398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12E33517-EAD7-319E-C160-ADE9542BC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933332">
            <a:off x="10716515" y="240192"/>
            <a:ext cx="377979" cy="398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DD3CC339-9D4C-4D91-1FAF-A2625CB5C1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960027">
            <a:off x="10975624" y="722501"/>
            <a:ext cx="377979" cy="398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ttangolo 24">
            <a:extLst>
              <a:ext uri="{FF2B5EF4-FFF2-40B4-BE49-F238E27FC236}">
                <a16:creationId xmlns:a16="http://schemas.microsoft.com/office/drawing/2014/main" id="{C0DAEFC7-C998-296C-984F-DC6361780E93}"/>
              </a:ext>
            </a:extLst>
          </p:cNvPr>
          <p:cNvSpPr/>
          <p:nvPr/>
        </p:nvSpPr>
        <p:spPr>
          <a:xfrm>
            <a:off x="5237382" y="3636347"/>
            <a:ext cx="2484218" cy="38056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° generazione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AD07613A-B1A1-26E5-4239-16AC00092797}"/>
              </a:ext>
            </a:extLst>
          </p:cNvPr>
          <p:cNvSpPr txBox="1"/>
          <p:nvPr/>
        </p:nvSpPr>
        <p:spPr>
          <a:xfrm>
            <a:off x="7402786" y="4253665"/>
            <a:ext cx="4573250" cy="1613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Il posizionamento ideale di </a:t>
            </a:r>
            <a:r>
              <a:rPr kumimoji="0" lang="it-I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icon</a:t>
            </a:r>
            <a:r>
              <a:rPr kumimoji="0" lang="it-IT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®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è sulle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neanidi di prima o seconda generazione,</a:t>
            </a:r>
            <a:b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verso la fine del volo dei maschi della generazione precedente (7-10 gg dopo il picco).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srgbClr val="000000"/>
                </a:solidFill>
                <a:latin typeface="Arial" panose="020B0604020202020204"/>
                <a:cs typeface="Arial"/>
              </a:rPr>
              <a:t>Il trattamento in prima generazione può essere utile anche per il contenimento degli afidi. 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cxnSp>
        <p:nvCxnSpPr>
          <p:cNvPr id="35" name="Straight Connector 10">
            <a:extLst>
              <a:ext uri="{FF2B5EF4-FFF2-40B4-BE49-F238E27FC236}">
                <a16:creationId xmlns:a16="http://schemas.microsoft.com/office/drawing/2014/main" id="{5B07DC1E-32F8-CBDA-08E1-6CC9EE1E9215}"/>
              </a:ext>
            </a:extLst>
          </p:cNvPr>
          <p:cNvCxnSpPr>
            <a:cxnSpLocks/>
          </p:cNvCxnSpPr>
          <p:nvPr/>
        </p:nvCxnSpPr>
        <p:spPr>
          <a:xfrm flipV="1">
            <a:off x="7379570" y="4302726"/>
            <a:ext cx="0" cy="417513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o 2">
            <a:extLst>
              <a:ext uri="{FF2B5EF4-FFF2-40B4-BE49-F238E27FC236}">
                <a16:creationId xmlns:a16="http://schemas.microsoft.com/office/drawing/2014/main" id="{71192173-042C-3EFD-D5A7-2F698DE0348C}"/>
              </a:ext>
            </a:extLst>
          </p:cNvPr>
          <p:cNvGrpSpPr/>
          <p:nvPr/>
        </p:nvGrpSpPr>
        <p:grpSpPr>
          <a:xfrm>
            <a:off x="5034787" y="4260620"/>
            <a:ext cx="1750496" cy="591020"/>
            <a:chOff x="1433395" y="2186720"/>
            <a:chExt cx="3485350" cy="523346"/>
          </a:xfrm>
        </p:grpSpPr>
        <p:sp>
          <p:nvSpPr>
            <p:cNvPr id="11" name="Rettangolo con angoli arrotondati 10">
              <a:extLst>
                <a:ext uri="{FF2B5EF4-FFF2-40B4-BE49-F238E27FC236}">
                  <a16:creationId xmlns:a16="http://schemas.microsoft.com/office/drawing/2014/main" id="{BC4B03B8-9BA2-3DCA-1E7D-53EEB013B653}"/>
                </a:ext>
              </a:extLst>
            </p:cNvPr>
            <p:cNvSpPr/>
            <p:nvPr/>
          </p:nvSpPr>
          <p:spPr>
            <a:xfrm>
              <a:off x="1433395" y="2198704"/>
              <a:ext cx="3437642" cy="511362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sp>
          <p:nvSpPr>
            <p:cNvPr id="28" name="Rettangolo con angoli arrotondati 27">
              <a:extLst>
                <a:ext uri="{FF2B5EF4-FFF2-40B4-BE49-F238E27FC236}">
                  <a16:creationId xmlns:a16="http://schemas.microsoft.com/office/drawing/2014/main" id="{26653FC9-5B5B-7FC8-E8AC-F9BB4958017C}"/>
                </a:ext>
              </a:extLst>
            </p:cNvPr>
            <p:cNvSpPr/>
            <p:nvPr/>
          </p:nvSpPr>
          <p:spPr>
            <a:xfrm rot="10800000">
              <a:off x="1481103" y="2186720"/>
              <a:ext cx="3437642" cy="511362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</p:grp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B981775A-36EF-C28E-A89E-D1272F8EA6AB}"/>
              </a:ext>
            </a:extLst>
          </p:cNvPr>
          <p:cNvSpPr txBox="1"/>
          <p:nvPr/>
        </p:nvSpPr>
        <p:spPr>
          <a:xfrm>
            <a:off x="5062465" y="4342407"/>
            <a:ext cx="169514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3B8809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icon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3B8809"/>
                </a:solidFill>
                <a:effectLst/>
                <a:uLnTx/>
                <a:uFillTx/>
                <a:latin typeface="Arial" panose="020B0604020202020204"/>
                <a:cs typeface="Arial"/>
              </a:rPr>
              <a:t>®  </a:t>
            </a:r>
            <a:br>
              <a:rPr kumimoji="0" lang="it-IT" sz="1400" b="1" i="0" u="none" strike="noStrike" kern="1200" cap="none" spc="0" normalizeH="0" baseline="30000" noProof="0" dirty="0">
                <a:ln>
                  <a:noFill/>
                </a:ln>
                <a:solidFill>
                  <a:srgbClr val="3B8809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B8809"/>
                </a:solidFill>
                <a:effectLst/>
                <a:uLnTx/>
                <a:uFillTx/>
                <a:latin typeface="Arial" panose="020B0604020202020204"/>
                <a:cs typeface="Arial"/>
              </a:rPr>
              <a:t>0,9 L/ha   </a:t>
            </a:r>
          </a:p>
        </p:txBody>
      </p:sp>
      <p:sp>
        <p:nvSpPr>
          <p:cNvPr id="36" name="Freccia a destra 35">
            <a:extLst>
              <a:ext uri="{FF2B5EF4-FFF2-40B4-BE49-F238E27FC236}">
                <a16:creationId xmlns:a16="http://schemas.microsoft.com/office/drawing/2014/main" id="{4FD7BC9C-6575-9D63-5B69-3529D7D57CF5}"/>
              </a:ext>
            </a:extLst>
          </p:cNvPr>
          <p:cNvSpPr/>
          <p:nvPr/>
        </p:nvSpPr>
        <p:spPr>
          <a:xfrm rot="16200000">
            <a:off x="5817714" y="3981361"/>
            <a:ext cx="184642" cy="31572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1E90B8DB-B283-2052-354C-008A4806172F}"/>
              </a:ext>
            </a:extLst>
          </p:cNvPr>
          <p:cNvSpPr txBox="1"/>
          <p:nvPr/>
        </p:nvSpPr>
        <p:spPr>
          <a:xfrm>
            <a:off x="2746230" y="5098052"/>
            <a:ext cx="401137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Con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icon</a:t>
            </a:r>
            <a:r>
              <a:rPr kumimoji="0" lang="it-IT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®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4A96"/>
                </a:solidFill>
                <a:effectLst/>
                <a:uLnTx/>
                <a:uFillTx/>
                <a:latin typeface="Arial" panose="020B0604020202020204"/>
                <a:cs typeface="Arial"/>
              </a:rPr>
              <a:t>olio minerale estivo 250 ml/h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395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SSEN’CIEL™ 3 L/ha</a:t>
            </a:r>
          </a:p>
        </p:txBody>
      </p:sp>
      <p:cxnSp>
        <p:nvCxnSpPr>
          <p:cNvPr id="40" name="Straight Connector 10">
            <a:extLst>
              <a:ext uri="{FF2B5EF4-FFF2-40B4-BE49-F238E27FC236}">
                <a16:creationId xmlns:a16="http://schemas.microsoft.com/office/drawing/2014/main" id="{8842E562-13F6-B56D-A5FC-E34B595F5021}"/>
              </a:ext>
            </a:extLst>
          </p:cNvPr>
          <p:cNvCxnSpPr>
            <a:cxnSpLocks/>
          </p:cNvCxnSpPr>
          <p:nvPr/>
        </p:nvCxnSpPr>
        <p:spPr>
          <a:xfrm flipH="1">
            <a:off x="391292" y="1161452"/>
            <a:ext cx="1049105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C8917ADE-194E-80B5-60F5-374E7A51CA74}"/>
              </a:ext>
            </a:extLst>
          </p:cNvPr>
          <p:cNvSpPr txBox="1">
            <a:spLocks/>
          </p:cNvSpPr>
          <p:nvPr/>
        </p:nvSpPr>
        <p:spPr>
          <a:xfrm>
            <a:off x="362062" y="1839782"/>
            <a:ext cx="1115855" cy="359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llungamen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 panose="020B0604020202020204"/>
                <a:cs typeface="Arial"/>
              </a:rPr>
              <a:t>germogli</a:t>
            </a:r>
          </a:p>
        </p:txBody>
      </p:sp>
      <p:pic>
        <p:nvPicPr>
          <p:cNvPr id="42" name="Immagine 41">
            <a:extLst>
              <a:ext uri="{FF2B5EF4-FFF2-40B4-BE49-F238E27FC236}">
                <a16:creationId xmlns:a16="http://schemas.microsoft.com/office/drawing/2014/main" id="{D7257AA2-9822-F40E-BAD6-B2CBDD6BC0AE}"/>
              </a:ext>
            </a:extLst>
          </p:cNvPr>
          <p:cNvPicPr>
            <a:picLocks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2062" y="2205690"/>
            <a:ext cx="1115855" cy="1151850"/>
          </a:xfrm>
          <a:prstGeom prst="rect">
            <a:avLst/>
          </a:prstGeom>
        </p:spPr>
      </p:pic>
      <p:sp>
        <p:nvSpPr>
          <p:cNvPr id="29" name="Rettangolo 28">
            <a:extLst>
              <a:ext uri="{FF2B5EF4-FFF2-40B4-BE49-F238E27FC236}">
                <a16:creationId xmlns:a16="http://schemas.microsoft.com/office/drawing/2014/main" id="{999333C3-DC48-2BFD-0371-C247F8FA6B47}"/>
              </a:ext>
            </a:extLst>
          </p:cNvPr>
          <p:cNvSpPr/>
          <p:nvPr/>
        </p:nvSpPr>
        <p:spPr>
          <a:xfrm>
            <a:off x="3064361" y="3374490"/>
            <a:ext cx="2626163" cy="380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° generazione</a:t>
            </a:r>
          </a:p>
        </p:txBody>
      </p: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355D5BE7-C462-2873-5BE8-41C22ED9A0ED}"/>
              </a:ext>
            </a:extLst>
          </p:cNvPr>
          <p:cNvGrpSpPr/>
          <p:nvPr/>
        </p:nvGrpSpPr>
        <p:grpSpPr>
          <a:xfrm>
            <a:off x="2746229" y="4224050"/>
            <a:ext cx="1750496" cy="591020"/>
            <a:chOff x="1433395" y="2186720"/>
            <a:chExt cx="3485350" cy="523346"/>
          </a:xfrm>
        </p:grpSpPr>
        <p:sp>
          <p:nvSpPr>
            <p:cNvPr id="37" name="Rettangolo con angoli arrotondati 36">
              <a:extLst>
                <a:ext uri="{FF2B5EF4-FFF2-40B4-BE49-F238E27FC236}">
                  <a16:creationId xmlns:a16="http://schemas.microsoft.com/office/drawing/2014/main" id="{D6D4B0C8-6CA7-C772-0481-59F4A972350F}"/>
                </a:ext>
              </a:extLst>
            </p:cNvPr>
            <p:cNvSpPr/>
            <p:nvPr/>
          </p:nvSpPr>
          <p:spPr>
            <a:xfrm>
              <a:off x="1433395" y="2198704"/>
              <a:ext cx="3437642" cy="511362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sp>
          <p:nvSpPr>
            <p:cNvPr id="43" name="Rettangolo con angoli arrotondati 42">
              <a:extLst>
                <a:ext uri="{FF2B5EF4-FFF2-40B4-BE49-F238E27FC236}">
                  <a16:creationId xmlns:a16="http://schemas.microsoft.com/office/drawing/2014/main" id="{0845E1E8-65C4-DE1B-FD49-4BAF2F655D85}"/>
                </a:ext>
              </a:extLst>
            </p:cNvPr>
            <p:cNvSpPr/>
            <p:nvPr/>
          </p:nvSpPr>
          <p:spPr>
            <a:xfrm rot="10800000">
              <a:off x="1481103" y="2186720"/>
              <a:ext cx="3437642" cy="511362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</p:grp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B8C3A79B-BA00-180F-A661-8FEF989066DD}"/>
              </a:ext>
            </a:extLst>
          </p:cNvPr>
          <p:cNvSpPr txBox="1"/>
          <p:nvPr/>
        </p:nvSpPr>
        <p:spPr>
          <a:xfrm>
            <a:off x="2773907" y="4305837"/>
            <a:ext cx="169514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3B8809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icon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3B8809"/>
                </a:solidFill>
                <a:effectLst/>
                <a:uLnTx/>
                <a:uFillTx/>
                <a:latin typeface="Arial" panose="020B0604020202020204"/>
                <a:cs typeface="Arial"/>
              </a:rPr>
              <a:t>®  </a:t>
            </a:r>
            <a:br>
              <a:rPr kumimoji="0" lang="it-IT" sz="1400" b="1" i="0" u="none" strike="noStrike" kern="1200" cap="none" spc="0" normalizeH="0" baseline="30000" noProof="0" dirty="0">
                <a:ln>
                  <a:noFill/>
                </a:ln>
                <a:solidFill>
                  <a:srgbClr val="3B8809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3B8809"/>
                </a:solidFill>
                <a:effectLst/>
                <a:uLnTx/>
                <a:uFillTx/>
                <a:latin typeface="Arial" panose="020B0604020202020204"/>
                <a:cs typeface="Arial"/>
              </a:rPr>
              <a:t>0,9 L/ha   </a:t>
            </a:r>
          </a:p>
        </p:txBody>
      </p:sp>
      <p:sp>
        <p:nvSpPr>
          <p:cNvPr id="45" name="Freccia a destra 44">
            <a:extLst>
              <a:ext uri="{FF2B5EF4-FFF2-40B4-BE49-F238E27FC236}">
                <a16:creationId xmlns:a16="http://schemas.microsoft.com/office/drawing/2014/main" id="{A52DDEF6-E7BE-498F-425A-97F81DF74026}"/>
              </a:ext>
            </a:extLst>
          </p:cNvPr>
          <p:cNvSpPr/>
          <p:nvPr/>
        </p:nvSpPr>
        <p:spPr>
          <a:xfrm rot="16200000">
            <a:off x="3529156" y="3944791"/>
            <a:ext cx="184642" cy="31572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B2016792-0BAA-404D-1B93-57548BF2E2FF}"/>
              </a:ext>
            </a:extLst>
          </p:cNvPr>
          <p:cNvSpPr txBox="1"/>
          <p:nvPr/>
        </p:nvSpPr>
        <p:spPr>
          <a:xfrm>
            <a:off x="4262777" y="4368985"/>
            <a:ext cx="9957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oppure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2E0EAA71-5D9F-128F-249E-F3BD4C76CA1E}"/>
              </a:ext>
            </a:extLst>
          </p:cNvPr>
          <p:cNvSpPr txBox="1"/>
          <p:nvPr/>
        </p:nvSpPr>
        <p:spPr>
          <a:xfrm>
            <a:off x="523372" y="6375938"/>
            <a:ext cx="726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Autorizzazione dal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5.04.2026 al 12.08.2026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ai sensi dell’articolo 53 del Regolamento (CE) </a:t>
            </a:r>
            <a:b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n. 1107/’07 (emergenza fitosanitaria)</a:t>
            </a:r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D8712F78-A50E-069E-DCBD-F60A35C4FA1A}"/>
              </a:ext>
            </a:extLst>
          </p:cNvPr>
          <p:cNvSpPr/>
          <p:nvPr/>
        </p:nvSpPr>
        <p:spPr>
          <a:xfrm flipV="1">
            <a:off x="5271097" y="6662377"/>
            <a:ext cx="1562839" cy="195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319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vale 41">
            <a:extLst>
              <a:ext uri="{FF2B5EF4-FFF2-40B4-BE49-F238E27FC236}">
                <a16:creationId xmlns:a16="http://schemas.microsoft.com/office/drawing/2014/main" id="{68259CE1-1D2C-7140-EEC5-C4B8E8CA1A37}"/>
              </a:ext>
            </a:extLst>
          </p:cNvPr>
          <p:cNvSpPr/>
          <p:nvPr/>
        </p:nvSpPr>
        <p:spPr>
          <a:xfrm>
            <a:off x="-1961189" y="1504816"/>
            <a:ext cx="7645761" cy="7645761"/>
          </a:xfrm>
          <a:prstGeom prst="ellipse">
            <a:avLst/>
          </a:prstGeom>
          <a:solidFill>
            <a:schemeClr val="accent1">
              <a:alpha val="71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CFB4E00E-295F-04BB-D505-E35565D345C5}"/>
              </a:ext>
            </a:extLst>
          </p:cNvPr>
          <p:cNvSpPr/>
          <p:nvPr/>
        </p:nvSpPr>
        <p:spPr>
          <a:xfrm>
            <a:off x="6555403" y="-480305"/>
            <a:ext cx="3858368" cy="3858368"/>
          </a:xfrm>
          <a:prstGeom prst="ellipse">
            <a:avLst/>
          </a:prstGeom>
          <a:solidFill>
            <a:schemeClr val="accent1">
              <a:alpha val="98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8" name="Ovale 47">
            <a:extLst>
              <a:ext uri="{FF2B5EF4-FFF2-40B4-BE49-F238E27FC236}">
                <a16:creationId xmlns:a16="http://schemas.microsoft.com/office/drawing/2014/main" id="{42B41C27-B817-7768-4A5F-05EA01FB4ECD}"/>
              </a:ext>
            </a:extLst>
          </p:cNvPr>
          <p:cNvSpPr/>
          <p:nvPr/>
        </p:nvSpPr>
        <p:spPr>
          <a:xfrm>
            <a:off x="9168240" y="799127"/>
            <a:ext cx="4891387" cy="4891387"/>
          </a:xfrm>
          <a:prstGeom prst="ellipse">
            <a:avLst/>
          </a:prstGeom>
          <a:solidFill>
            <a:schemeClr val="accent1">
              <a:alpha val="71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337105F-7729-7840-11A0-3C6493B68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1" imgW="306" imgH="306" progId="TCLayout.ActiveDocument.1">
                  <p:embed/>
                </p:oleObj>
              </mc:Choice>
              <mc:Fallback>
                <p:oleObj name="Diapositiva think-cell" r:id="rId11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37105F-7729-7840-11A0-3C6493B68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3B44576-A24D-B1F3-3B58-8B6068976D29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513071" y="3209147"/>
            <a:ext cx="4492791" cy="276963"/>
          </a:xfrm>
        </p:spPr>
        <p:txBody>
          <a:bodyPr/>
          <a:lstStyle/>
          <a:p>
            <a:pPr>
              <a:buSzPct val="220000"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</a:pPr>
            <a:r>
              <a:rPr lang="it-IT" b="1" dirty="0"/>
              <a:t>   </a:t>
            </a:r>
            <a:r>
              <a:rPr lang="it-IT" dirty="0"/>
              <a:t>Elevata efficacia su </a:t>
            </a:r>
            <a:r>
              <a:rPr lang="it-IT" b="1" dirty="0"/>
              <a:t>afidi e cocciniglie</a:t>
            </a:r>
          </a:p>
        </p:txBody>
      </p:sp>
      <p:sp>
        <p:nvSpPr>
          <p:cNvPr id="9" name="Segnaposto testo 2">
            <a:extLst>
              <a:ext uri="{FF2B5EF4-FFF2-40B4-BE49-F238E27FC236}">
                <a16:creationId xmlns:a16="http://schemas.microsoft.com/office/drawing/2014/main" id="{4A9198CF-1601-368B-9121-307696284C8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13071" y="4238785"/>
            <a:ext cx="4492791" cy="2769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41966" indent="-341966" algn="l" defTabSz="914309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738" indent="-266373" algn="l" defTabSz="914309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899910" indent="-277172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283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341932" marR="0" lvl="0" indent="-341932" algn="l" defTabSz="91421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rgbClr val="65AC1E"/>
              </a:buClr>
              <a:buSzPct val="220000"/>
              <a:buFont typeface="Wingdings" panose="05000000000000000000" pitchFamily="2" charset="2"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Ottima </a:t>
            </a:r>
            <a:r>
              <a:rPr kumimoji="0" 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sistemia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e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persistenza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di azione</a:t>
            </a: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D07A1B9D-ED0E-D8CE-B0DE-F7FC4303546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717658" y="2209367"/>
            <a:ext cx="4492791" cy="2769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41966" indent="-341966" algn="l" defTabSz="914309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738" indent="-266373" algn="l" defTabSz="914309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899910" indent="-277172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283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341932" marR="0" lvl="0" indent="-341932" algn="l" defTabSz="91421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rgbClr val="65AC1E"/>
              </a:buClr>
              <a:buSzPct val="220000"/>
              <a:buFont typeface="Wingdings" panose="05000000000000000000" pitchFamily="2" charset="2"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  Ottima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selettività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sugli utili</a:t>
            </a:r>
          </a:p>
        </p:txBody>
      </p:sp>
      <p:sp>
        <p:nvSpPr>
          <p:cNvPr id="11" name="Segnaposto testo 2">
            <a:extLst>
              <a:ext uri="{FF2B5EF4-FFF2-40B4-BE49-F238E27FC236}">
                <a16:creationId xmlns:a16="http://schemas.microsoft.com/office/drawing/2014/main" id="{D8A4BCA3-715F-6EF6-088C-6A9FE707362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13071" y="5388080"/>
            <a:ext cx="4492791" cy="2769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41966" indent="-341966" algn="l" defTabSz="914309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738" indent="-266373" algn="l" defTabSz="914309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899910" indent="-277172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283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341932" marR="0" lvl="0" indent="-341932" algn="l" defTabSz="91421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rgbClr val="65AC1E"/>
              </a:buClr>
              <a:buSzPct val="220000"/>
              <a:buFont typeface="Wingdings" panose="05000000000000000000" pitchFamily="2" charset="2"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  Flessibilità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di applicazione</a:t>
            </a:r>
          </a:p>
          <a:p>
            <a:pPr marL="341932" marR="0" lvl="0" indent="-341932" algn="l" defTabSz="91421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rgbClr val="65AC1E"/>
              </a:buClr>
              <a:buSzPct val="220000"/>
              <a:buFont typeface="Wingdings" panose="05000000000000000000" pitchFamily="2" charset="2"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47" name="Ovale 46">
            <a:extLst>
              <a:ext uri="{FF2B5EF4-FFF2-40B4-BE49-F238E27FC236}">
                <a16:creationId xmlns:a16="http://schemas.microsoft.com/office/drawing/2014/main" id="{A4933DB0-2EDD-3B18-FEFB-77144B197E43}"/>
              </a:ext>
            </a:extLst>
          </p:cNvPr>
          <p:cNvSpPr/>
          <p:nvPr/>
        </p:nvSpPr>
        <p:spPr>
          <a:xfrm>
            <a:off x="-243646" y="5442171"/>
            <a:ext cx="4891387" cy="4891387"/>
          </a:xfrm>
          <a:prstGeom prst="ellipse">
            <a:avLst/>
          </a:prstGeom>
          <a:solidFill>
            <a:schemeClr val="accent1">
              <a:alpha val="1371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cxnSp>
        <p:nvCxnSpPr>
          <p:cNvPr id="12" name="Straight Connector 10">
            <a:extLst>
              <a:ext uri="{FF2B5EF4-FFF2-40B4-BE49-F238E27FC236}">
                <a16:creationId xmlns:a16="http://schemas.microsoft.com/office/drawing/2014/main" id="{C184CA3F-A379-525C-E201-6C9FA7A8030E}"/>
              </a:ext>
            </a:extLst>
          </p:cNvPr>
          <p:cNvCxnSpPr>
            <a:cxnSpLocks/>
          </p:cNvCxnSpPr>
          <p:nvPr/>
        </p:nvCxnSpPr>
        <p:spPr>
          <a:xfrm flipH="1">
            <a:off x="348182" y="1244591"/>
            <a:ext cx="1049105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">
            <a:extLst>
              <a:ext uri="{FF2B5EF4-FFF2-40B4-BE49-F238E27FC236}">
                <a16:creationId xmlns:a16="http://schemas.microsoft.com/office/drawing/2014/main" id="{F094F6AF-F74B-C83B-F9B5-0A7F1DDB03F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91291" y="392469"/>
            <a:ext cx="11677650" cy="68480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218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Efficon</a:t>
            </a:r>
            <a:r>
              <a:rPr kumimoji="0" lang="en-US" sz="2800" b="1" i="0" u="none" strike="noStrike" kern="1200" cap="none" spc="0" normalizeH="0" baseline="3000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®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Punti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di forza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differenzianti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-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vantaggi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01793A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" name="Segnaposto testo 2">
            <a:extLst>
              <a:ext uri="{FF2B5EF4-FFF2-40B4-BE49-F238E27FC236}">
                <a16:creationId xmlns:a16="http://schemas.microsoft.com/office/drawing/2014/main" id="{0F9B974E-D9B8-B70D-D3A2-A12A08C4403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752919" y="4340517"/>
            <a:ext cx="4492791" cy="2769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41966" indent="-341966" algn="l" defTabSz="914309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738" indent="-266373" algn="l" defTabSz="914309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899910" indent="-277172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283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341932" marR="0" lvl="0" indent="-341932" algn="l" defTabSz="91421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rgbClr val="65AC1E"/>
              </a:buClr>
              <a:buSzPct val="220000"/>
              <a:buFont typeface="Wingdings" panose="05000000000000000000" pitchFamily="2" charset="2"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 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Nessun residuo alla raccolta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(rispettando le condizioni di etichetta) </a:t>
            </a:r>
          </a:p>
        </p:txBody>
      </p:sp>
      <p:sp>
        <p:nvSpPr>
          <p:cNvPr id="4" name="Segnaposto testo 2">
            <a:extLst>
              <a:ext uri="{FF2B5EF4-FFF2-40B4-BE49-F238E27FC236}">
                <a16:creationId xmlns:a16="http://schemas.microsoft.com/office/drawing/2014/main" id="{05815761-95B1-83DD-C9D6-75946BEBBCE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76479" y="2163081"/>
            <a:ext cx="4492791" cy="2769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41966" indent="-341966" algn="l" defTabSz="914309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738" indent="-266373" algn="l" defTabSz="914309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899910" indent="-277172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283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341932" marR="0" lvl="0" indent="-341932" algn="l" defTabSz="91421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rgbClr val="65AC1E"/>
              </a:buClr>
              <a:buSzPct val="220000"/>
              <a:buFont typeface="Wingdings" panose="05000000000000000000" pitchFamily="2" charset="2"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 Innovativo: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nuova chimica,     nuovo meccanismo d’azione</a:t>
            </a:r>
          </a:p>
          <a:p>
            <a:pPr marL="341932" marR="0" lvl="0" indent="-341932" algn="l" defTabSz="91421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rgbClr val="65AC1E"/>
              </a:buClr>
              <a:buSzPct val="220000"/>
              <a:buFont typeface="Wingdings" panose="05000000000000000000" pitchFamily="2" charset="2"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4997CD22-36D7-5EA4-FA29-A77A6C7F7D7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717658" y="3302072"/>
            <a:ext cx="4492791" cy="2769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41966" indent="-341966" algn="l" defTabSz="914309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738" indent="-266373" algn="l" defTabSz="914309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899910" indent="-277172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283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341932" marR="0" lvl="0" indent="-341932" algn="l" defTabSz="91421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rgbClr val="65AC1E"/>
              </a:buClr>
              <a:buSzPct val="220000"/>
              <a:buFont typeface="Wingdings" panose="05000000000000000000" pitchFamily="2" charset="2"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 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Favorevole profilo regolatorio</a:t>
            </a:r>
          </a:p>
        </p:txBody>
      </p:sp>
      <p:pic>
        <p:nvPicPr>
          <p:cNvPr id="7" name="Picture 23" descr="A close up of a bug&#10;&#10;Description automatically generated">
            <a:extLst>
              <a:ext uri="{FF2B5EF4-FFF2-40B4-BE49-F238E27FC236}">
                <a16:creationId xmlns:a16="http://schemas.microsoft.com/office/drawing/2014/main" id="{E9023F0F-A3B9-49C9-DA8C-2F31C81D288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059346" flipH="1">
            <a:off x="11806965" y="3200557"/>
            <a:ext cx="224680" cy="360263"/>
          </a:xfrm>
          <a:prstGeom prst="rect">
            <a:avLst/>
          </a:prstGeom>
        </p:spPr>
      </p:pic>
      <p:pic>
        <p:nvPicPr>
          <p:cNvPr id="17" name="Picture 10" descr="A green bug with long legs&#10;&#10;Description automatically generated">
            <a:extLst>
              <a:ext uri="{FF2B5EF4-FFF2-40B4-BE49-F238E27FC236}">
                <a16:creationId xmlns:a16="http://schemas.microsoft.com/office/drawing/2014/main" id="{8DA32B82-3AB9-6D65-F93E-BE4183EAFBC7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051931" flipV="1">
            <a:off x="11199647" y="3315856"/>
            <a:ext cx="356921" cy="343086"/>
          </a:xfrm>
          <a:prstGeom prst="rect">
            <a:avLst/>
          </a:prstGeom>
        </p:spPr>
      </p:pic>
      <p:pic>
        <p:nvPicPr>
          <p:cNvPr id="18" name="Picture 10" descr="A green bug with long legs&#10;&#10;Description automatically generated">
            <a:extLst>
              <a:ext uri="{FF2B5EF4-FFF2-40B4-BE49-F238E27FC236}">
                <a16:creationId xmlns:a16="http://schemas.microsoft.com/office/drawing/2014/main" id="{B4CB62EE-10FE-8E36-30DB-DA28B2C5B27B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63278" flipH="1">
            <a:off x="10865197" y="3103782"/>
            <a:ext cx="356921" cy="343086"/>
          </a:xfrm>
          <a:prstGeom prst="rect">
            <a:avLst/>
          </a:prstGeom>
        </p:spPr>
      </p:pic>
      <p:pic>
        <p:nvPicPr>
          <p:cNvPr id="19" name="Picture 23" descr="A close up of a bug&#10;&#10;Description automatically generated">
            <a:extLst>
              <a:ext uri="{FF2B5EF4-FFF2-40B4-BE49-F238E27FC236}">
                <a16:creationId xmlns:a16="http://schemas.microsoft.com/office/drawing/2014/main" id="{C952EAED-1FC0-89D3-8644-E4FB2A028FF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441658" flipH="1">
            <a:off x="11356309" y="2871430"/>
            <a:ext cx="224680" cy="360263"/>
          </a:xfrm>
          <a:prstGeom prst="rect">
            <a:avLst/>
          </a:prstGeom>
        </p:spPr>
      </p:pic>
      <p:pic>
        <p:nvPicPr>
          <p:cNvPr id="20" name="Picture 23" descr="A close up of a bug&#10;&#10;Description automatically generated">
            <a:extLst>
              <a:ext uri="{FF2B5EF4-FFF2-40B4-BE49-F238E27FC236}">
                <a16:creationId xmlns:a16="http://schemas.microsoft.com/office/drawing/2014/main" id="{5AAB8E94-39D6-F33D-4C32-1C6D0CE9E368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441658" flipH="1">
            <a:off x="10930692" y="3567604"/>
            <a:ext cx="224680" cy="360263"/>
          </a:xfrm>
          <a:prstGeom prst="rect">
            <a:avLst/>
          </a:prstGeom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6FE65EC5-2A89-9674-B0E8-874E3AD31A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984248">
            <a:off x="11281159" y="3708694"/>
            <a:ext cx="210972" cy="222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BCBC9175-DA3A-5A6D-E708-8FB4FF27C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96870">
            <a:off x="11506594" y="3248303"/>
            <a:ext cx="210973" cy="222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4DE8CBCD-64A5-CF19-D82B-26347FE1E7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123565">
            <a:off x="11098162" y="2915199"/>
            <a:ext cx="210972" cy="222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20">
            <a:extLst>
              <a:ext uri="{FF2B5EF4-FFF2-40B4-BE49-F238E27FC236}">
                <a16:creationId xmlns:a16="http://schemas.microsoft.com/office/drawing/2014/main" id="{8696901E-8B17-9B8A-E6D7-0E0ED1A3915B}"/>
              </a:ext>
            </a:extLst>
          </p:cNvPr>
          <p:cNvSpPr/>
          <p:nvPr/>
        </p:nvSpPr>
        <p:spPr>
          <a:xfrm flipV="1">
            <a:off x="5271097" y="6662377"/>
            <a:ext cx="1562839" cy="195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2264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7333FA-F59A-50DB-4AEC-8C995382ED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Rettangolo 218">
            <a:extLst>
              <a:ext uri="{FF2B5EF4-FFF2-40B4-BE49-F238E27FC236}">
                <a16:creationId xmlns:a16="http://schemas.microsoft.com/office/drawing/2014/main" id="{D236DA9D-9906-E320-A7DA-CA3DC1963576}"/>
              </a:ext>
            </a:extLst>
          </p:cNvPr>
          <p:cNvSpPr/>
          <p:nvPr/>
        </p:nvSpPr>
        <p:spPr>
          <a:xfrm>
            <a:off x="29021" y="833558"/>
            <a:ext cx="12188821" cy="450217"/>
          </a:xfrm>
          <a:prstGeom prst="rect">
            <a:avLst/>
          </a:prstGeom>
          <a:gradFill>
            <a:gsLst>
              <a:gs pos="50000">
                <a:schemeClr val="accent1"/>
              </a:gs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7">
              <a:defRPr/>
            </a:pPr>
            <a:endParaRPr lang="it-IT" dirty="0">
              <a:solidFill>
                <a:srgbClr val="FFFFFF"/>
              </a:solidFill>
              <a:latin typeface="Arial" panose="020B0604020202020204"/>
              <a:cs typeface="Arial"/>
            </a:endParaRP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75335FE9-4B73-064B-481B-E08C4D1E6EC2}"/>
              </a:ext>
            </a:extLst>
          </p:cNvPr>
          <p:cNvSpPr/>
          <p:nvPr/>
        </p:nvSpPr>
        <p:spPr>
          <a:xfrm>
            <a:off x="2161684" y="1267108"/>
            <a:ext cx="1500455" cy="4817754"/>
          </a:xfrm>
          <a:prstGeom prst="rect">
            <a:avLst/>
          </a:prstGeom>
          <a:solidFill>
            <a:schemeClr val="accent6">
              <a:lumMod val="75000"/>
              <a:alpha val="1003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7" name="Rettangolo 46">
            <a:extLst>
              <a:ext uri="{FF2B5EF4-FFF2-40B4-BE49-F238E27FC236}">
                <a16:creationId xmlns:a16="http://schemas.microsoft.com/office/drawing/2014/main" id="{BFE2D5A2-80AC-B678-3D70-BDF4644A8A65}"/>
              </a:ext>
            </a:extLst>
          </p:cNvPr>
          <p:cNvSpPr/>
          <p:nvPr/>
        </p:nvSpPr>
        <p:spPr>
          <a:xfrm>
            <a:off x="5146186" y="1267108"/>
            <a:ext cx="1500454" cy="4817754"/>
          </a:xfrm>
          <a:prstGeom prst="rect">
            <a:avLst/>
          </a:prstGeom>
          <a:solidFill>
            <a:schemeClr val="accent6">
              <a:lumMod val="75000"/>
              <a:alpha val="1003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9" name="Rettangolo 48">
            <a:extLst>
              <a:ext uri="{FF2B5EF4-FFF2-40B4-BE49-F238E27FC236}">
                <a16:creationId xmlns:a16="http://schemas.microsoft.com/office/drawing/2014/main" id="{5E0A9D70-3150-00D4-8A12-75583B1070E6}"/>
              </a:ext>
            </a:extLst>
          </p:cNvPr>
          <p:cNvSpPr/>
          <p:nvPr/>
        </p:nvSpPr>
        <p:spPr>
          <a:xfrm>
            <a:off x="8083860" y="1267108"/>
            <a:ext cx="1535570" cy="4817754"/>
          </a:xfrm>
          <a:prstGeom prst="rect">
            <a:avLst/>
          </a:prstGeom>
          <a:solidFill>
            <a:schemeClr val="accent6">
              <a:lumMod val="75000"/>
              <a:alpha val="1003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178ACEB5-21D1-12D5-C08A-A72A56F12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78" y="270965"/>
            <a:ext cx="11898807" cy="853089"/>
          </a:xfrm>
        </p:spPr>
        <p:txBody>
          <a:bodyPr/>
          <a:lstStyle/>
          <a:p>
            <a:pPr defTabSz="914309">
              <a:spcBef>
                <a:spcPts val="0"/>
              </a:spcBef>
              <a:spcAft>
                <a:spcPts val="600"/>
              </a:spcAft>
              <a:defRPr/>
            </a:pPr>
            <a:r>
              <a:rPr lang="it-IT" dirty="0">
                <a:solidFill>
                  <a:srgbClr val="01793B"/>
                </a:solidFill>
                <a:latin typeface="Arial"/>
                <a:cs typeface="Arial"/>
              </a:rPr>
              <a:t>Linea agrumi BASF</a:t>
            </a:r>
          </a:p>
        </p:txBody>
      </p: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0FAC5680-80C1-920E-A85C-F53B1CD63D85}"/>
              </a:ext>
            </a:extLst>
          </p:cNvPr>
          <p:cNvGrpSpPr/>
          <p:nvPr/>
        </p:nvGrpSpPr>
        <p:grpSpPr>
          <a:xfrm>
            <a:off x="3672062" y="955539"/>
            <a:ext cx="2178476" cy="302728"/>
            <a:chOff x="1067758" y="1175667"/>
            <a:chExt cx="2178760" cy="302767"/>
          </a:xfrm>
        </p:grpSpPr>
        <p:sp>
          <p:nvSpPr>
            <p:cNvPr id="97" name="CasellaDiTesto 96">
              <a:extLst>
                <a:ext uri="{FF2B5EF4-FFF2-40B4-BE49-F238E27FC236}">
                  <a16:creationId xmlns:a16="http://schemas.microsoft.com/office/drawing/2014/main" id="{F0A7BC51-BF03-FFD2-70B5-076190D86EC9}"/>
                </a:ext>
              </a:extLst>
            </p:cNvPr>
            <p:cNvSpPr txBox="1"/>
            <p:nvPr/>
          </p:nvSpPr>
          <p:spPr>
            <a:xfrm>
              <a:off x="1146412" y="1193157"/>
              <a:ext cx="210010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27">
                <a:defRPr/>
              </a:pP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TTONI</a:t>
              </a:r>
              <a:b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ORALI</a:t>
              </a:r>
            </a:p>
          </p:txBody>
        </p:sp>
        <p:cxnSp>
          <p:nvCxnSpPr>
            <p:cNvPr id="225" name="Connettore 1 224">
              <a:extLst>
                <a:ext uri="{FF2B5EF4-FFF2-40B4-BE49-F238E27FC236}">
                  <a16:creationId xmlns:a16="http://schemas.microsoft.com/office/drawing/2014/main" id="{F452D1A2-00DB-8EA2-BCC9-25CEBA197652}"/>
                </a:ext>
              </a:extLst>
            </p:cNvPr>
            <p:cNvCxnSpPr>
              <a:cxnSpLocks/>
            </p:cNvCxnSpPr>
            <p:nvPr/>
          </p:nvCxnSpPr>
          <p:spPr>
            <a:xfrm>
              <a:off x="1067758" y="1175667"/>
              <a:ext cx="0" cy="302767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30002577-447B-0A70-A1C9-C39A36BFAEA5}"/>
              </a:ext>
            </a:extLst>
          </p:cNvPr>
          <p:cNvGrpSpPr/>
          <p:nvPr/>
        </p:nvGrpSpPr>
        <p:grpSpPr>
          <a:xfrm>
            <a:off x="5164858" y="955539"/>
            <a:ext cx="2178476" cy="302728"/>
            <a:chOff x="1067758" y="1175667"/>
            <a:chExt cx="2178760" cy="302767"/>
          </a:xfrm>
        </p:grpSpPr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C4F5649E-654A-B024-9A6C-033127F74C7E}"/>
                </a:ext>
              </a:extLst>
            </p:cNvPr>
            <p:cNvSpPr txBox="1"/>
            <p:nvPr/>
          </p:nvSpPr>
          <p:spPr>
            <a:xfrm>
              <a:off x="1146412" y="1193157"/>
              <a:ext cx="210010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27">
                <a:defRPr/>
              </a:pP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ORITURA</a:t>
              </a:r>
            </a:p>
          </p:txBody>
        </p:sp>
        <p:cxnSp>
          <p:nvCxnSpPr>
            <p:cNvPr id="14" name="Connettore 1 224">
              <a:extLst>
                <a:ext uri="{FF2B5EF4-FFF2-40B4-BE49-F238E27FC236}">
                  <a16:creationId xmlns:a16="http://schemas.microsoft.com/office/drawing/2014/main" id="{1D1D380A-7994-17AE-C33B-F5D21600CC37}"/>
                </a:ext>
              </a:extLst>
            </p:cNvPr>
            <p:cNvCxnSpPr>
              <a:cxnSpLocks/>
            </p:cNvCxnSpPr>
            <p:nvPr/>
          </p:nvCxnSpPr>
          <p:spPr>
            <a:xfrm>
              <a:off x="1067758" y="1175667"/>
              <a:ext cx="0" cy="302767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o 14">
            <a:extLst>
              <a:ext uri="{FF2B5EF4-FFF2-40B4-BE49-F238E27FC236}">
                <a16:creationId xmlns:a16="http://schemas.microsoft.com/office/drawing/2014/main" id="{5CC740BA-5276-BF9D-BB80-ABA6DF713414}"/>
              </a:ext>
            </a:extLst>
          </p:cNvPr>
          <p:cNvGrpSpPr/>
          <p:nvPr/>
        </p:nvGrpSpPr>
        <p:grpSpPr>
          <a:xfrm>
            <a:off x="6657655" y="962630"/>
            <a:ext cx="2178476" cy="302728"/>
            <a:chOff x="1067758" y="1175667"/>
            <a:chExt cx="2178760" cy="302767"/>
          </a:xfrm>
        </p:grpSpPr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5A071A20-7D45-87DE-C2EB-808D8E357658}"/>
                </a:ext>
              </a:extLst>
            </p:cNvPr>
            <p:cNvSpPr txBox="1"/>
            <p:nvPr/>
          </p:nvSpPr>
          <p:spPr>
            <a:xfrm>
              <a:off x="1146412" y="1193157"/>
              <a:ext cx="210010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27">
                <a:defRPr/>
              </a:pP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LEGAGIONE</a:t>
              </a:r>
            </a:p>
          </p:txBody>
        </p:sp>
        <p:cxnSp>
          <p:nvCxnSpPr>
            <p:cNvPr id="17" name="Connettore 1 224">
              <a:extLst>
                <a:ext uri="{FF2B5EF4-FFF2-40B4-BE49-F238E27FC236}">
                  <a16:creationId xmlns:a16="http://schemas.microsoft.com/office/drawing/2014/main" id="{B7B0E391-579E-F155-A8EC-C76A1EDA377E}"/>
                </a:ext>
              </a:extLst>
            </p:cNvPr>
            <p:cNvCxnSpPr>
              <a:cxnSpLocks/>
            </p:cNvCxnSpPr>
            <p:nvPr/>
          </p:nvCxnSpPr>
          <p:spPr>
            <a:xfrm>
              <a:off x="1067758" y="1175667"/>
              <a:ext cx="0" cy="302767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70358B6A-7A0D-6283-994B-13AAD0191397}"/>
              </a:ext>
            </a:extLst>
          </p:cNvPr>
          <p:cNvGrpSpPr/>
          <p:nvPr/>
        </p:nvGrpSpPr>
        <p:grpSpPr>
          <a:xfrm>
            <a:off x="8096388" y="939931"/>
            <a:ext cx="2178476" cy="325427"/>
            <a:chOff x="1067758" y="1152965"/>
            <a:chExt cx="2178760" cy="325469"/>
          </a:xfrm>
        </p:grpSpPr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35EAAD55-6446-9CD7-1B1B-4AFDA5E8115B}"/>
                </a:ext>
              </a:extLst>
            </p:cNvPr>
            <p:cNvSpPr txBox="1"/>
            <p:nvPr/>
          </p:nvSpPr>
          <p:spPr>
            <a:xfrm>
              <a:off x="1146412" y="1152965"/>
              <a:ext cx="210010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27">
                <a:defRPr/>
              </a:pP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RESCIMENTO</a:t>
              </a:r>
              <a:b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I FRUTTI</a:t>
              </a:r>
            </a:p>
          </p:txBody>
        </p:sp>
        <p:cxnSp>
          <p:nvCxnSpPr>
            <p:cNvPr id="20" name="Connettore 1 224">
              <a:extLst>
                <a:ext uri="{FF2B5EF4-FFF2-40B4-BE49-F238E27FC236}">
                  <a16:creationId xmlns:a16="http://schemas.microsoft.com/office/drawing/2014/main" id="{DAB51905-728A-477F-6951-93009A31DA27}"/>
                </a:ext>
              </a:extLst>
            </p:cNvPr>
            <p:cNvCxnSpPr>
              <a:cxnSpLocks/>
            </p:cNvCxnSpPr>
            <p:nvPr/>
          </p:nvCxnSpPr>
          <p:spPr>
            <a:xfrm>
              <a:off x="1067758" y="1175667"/>
              <a:ext cx="0" cy="302767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9E474B98-DA96-139A-88C4-6E29795C1E33}"/>
              </a:ext>
            </a:extLst>
          </p:cNvPr>
          <p:cNvGrpSpPr/>
          <p:nvPr/>
        </p:nvGrpSpPr>
        <p:grpSpPr>
          <a:xfrm>
            <a:off x="9614259" y="939931"/>
            <a:ext cx="2178476" cy="325427"/>
            <a:chOff x="1067758" y="1152965"/>
            <a:chExt cx="2178760" cy="325469"/>
          </a:xfrm>
        </p:grpSpPr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F45A9CD4-9A0C-ADF3-CC27-44B9B325E67D}"/>
                </a:ext>
              </a:extLst>
            </p:cNvPr>
            <p:cNvSpPr txBox="1"/>
            <p:nvPr/>
          </p:nvSpPr>
          <p:spPr>
            <a:xfrm>
              <a:off x="1146412" y="1152965"/>
              <a:ext cx="210010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27">
                <a:defRPr/>
              </a:pP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VILUPPO</a:t>
              </a:r>
              <a:b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I FRUTTI</a:t>
              </a:r>
            </a:p>
          </p:txBody>
        </p:sp>
        <p:cxnSp>
          <p:nvCxnSpPr>
            <p:cNvPr id="23" name="Connettore 1 224">
              <a:extLst>
                <a:ext uri="{FF2B5EF4-FFF2-40B4-BE49-F238E27FC236}">
                  <a16:creationId xmlns:a16="http://schemas.microsoft.com/office/drawing/2014/main" id="{D48D9DF7-3933-4765-05B8-0A41AA393C1D}"/>
                </a:ext>
              </a:extLst>
            </p:cNvPr>
            <p:cNvCxnSpPr>
              <a:cxnSpLocks/>
            </p:cNvCxnSpPr>
            <p:nvPr/>
          </p:nvCxnSpPr>
          <p:spPr>
            <a:xfrm>
              <a:off x="1067758" y="1175667"/>
              <a:ext cx="0" cy="302767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95744DF6-03B5-01CA-C7FE-F21EFE36BDCD}"/>
              </a:ext>
            </a:extLst>
          </p:cNvPr>
          <p:cNvGrpSpPr/>
          <p:nvPr/>
        </p:nvGrpSpPr>
        <p:grpSpPr>
          <a:xfrm>
            <a:off x="10888485" y="962630"/>
            <a:ext cx="2178476" cy="302728"/>
            <a:chOff x="1067758" y="1175667"/>
            <a:chExt cx="2178760" cy="302767"/>
          </a:xfrm>
        </p:grpSpPr>
        <p:sp>
          <p:nvSpPr>
            <p:cNvPr id="25" name="CasellaDiTesto 24">
              <a:extLst>
                <a:ext uri="{FF2B5EF4-FFF2-40B4-BE49-F238E27FC236}">
                  <a16:creationId xmlns:a16="http://schemas.microsoft.com/office/drawing/2014/main" id="{6795AF8F-1859-CE5B-A151-EB545062A9B8}"/>
                </a:ext>
              </a:extLst>
            </p:cNvPr>
            <p:cNvSpPr txBox="1"/>
            <p:nvPr/>
          </p:nvSpPr>
          <p:spPr>
            <a:xfrm>
              <a:off x="1146412" y="1193157"/>
              <a:ext cx="210010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27">
                <a:defRPr/>
              </a:pP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TURAZIONE</a:t>
              </a:r>
            </a:p>
          </p:txBody>
        </p:sp>
        <p:cxnSp>
          <p:nvCxnSpPr>
            <p:cNvPr id="26" name="Connettore 1 224">
              <a:extLst>
                <a:ext uri="{FF2B5EF4-FFF2-40B4-BE49-F238E27FC236}">
                  <a16:creationId xmlns:a16="http://schemas.microsoft.com/office/drawing/2014/main" id="{80DD7119-856A-B993-3A82-AD3D6594316C}"/>
                </a:ext>
              </a:extLst>
            </p:cNvPr>
            <p:cNvCxnSpPr>
              <a:cxnSpLocks/>
            </p:cNvCxnSpPr>
            <p:nvPr/>
          </p:nvCxnSpPr>
          <p:spPr>
            <a:xfrm>
              <a:off x="1067758" y="1175667"/>
              <a:ext cx="0" cy="302767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6" name="Connettore 1 224">
            <a:extLst>
              <a:ext uri="{FF2B5EF4-FFF2-40B4-BE49-F238E27FC236}">
                <a16:creationId xmlns:a16="http://schemas.microsoft.com/office/drawing/2014/main" id="{1F3A255C-9A4F-8512-190D-F0506B99E477}"/>
              </a:ext>
            </a:extLst>
          </p:cNvPr>
          <p:cNvCxnSpPr>
            <a:cxnSpLocks/>
          </p:cNvCxnSpPr>
          <p:nvPr/>
        </p:nvCxnSpPr>
        <p:spPr>
          <a:xfrm>
            <a:off x="153376" y="2333643"/>
            <a:ext cx="0" cy="1634715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nettore diritto 126">
            <a:extLst>
              <a:ext uri="{FF2B5EF4-FFF2-40B4-BE49-F238E27FC236}">
                <a16:creationId xmlns:a16="http://schemas.microsoft.com/office/drawing/2014/main" id="{2DFFC677-DB78-0ABD-2B60-91C53EB534A2}"/>
              </a:ext>
            </a:extLst>
          </p:cNvPr>
          <p:cNvCxnSpPr>
            <a:cxnSpLocks/>
          </p:cNvCxnSpPr>
          <p:nvPr/>
        </p:nvCxnSpPr>
        <p:spPr>
          <a:xfrm>
            <a:off x="134774" y="3968358"/>
            <a:ext cx="120556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nettore 1 224">
            <a:extLst>
              <a:ext uri="{FF2B5EF4-FFF2-40B4-BE49-F238E27FC236}">
                <a16:creationId xmlns:a16="http://schemas.microsoft.com/office/drawing/2014/main" id="{290A7407-2BA8-F999-97FE-19AF474959C6}"/>
              </a:ext>
            </a:extLst>
          </p:cNvPr>
          <p:cNvCxnSpPr>
            <a:cxnSpLocks/>
          </p:cNvCxnSpPr>
          <p:nvPr/>
        </p:nvCxnSpPr>
        <p:spPr>
          <a:xfrm>
            <a:off x="163648" y="4450148"/>
            <a:ext cx="0" cy="1634715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Connettore diritto 148">
            <a:extLst>
              <a:ext uri="{FF2B5EF4-FFF2-40B4-BE49-F238E27FC236}">
                <a16:creationId xmlns:a16="http://schemas.microsoft.com/office/drawing/2014/main" id="{9C9731BE-36A8-3120-E827-63567EAC7FBC}"/>
              </a:ext>
            </a:extLst>
          </p:cNvPr>
          <p:cNvCxnSpPr>
            <a:cxnSpLocks/>
          </p:cNvCxnSpPr>
          <p:nvPr/>
        </p:nvCxnSpPr>
        <p:spPr>
          <a:xfrm>
            <a:off x="115970" y="6084863"/>
            <a:ext cx="120556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CasellaDiTesto 165">
            <a:extLst>
              <a:ext uri="{FF2B5EF4-FFF2-40B4-BE49-F238E27FC236}">
                <a16:creationId xmlns:a16="http://schemas.microsoft.com/office/drawing/2014/main" id="{6ED68449-C709-FC4C-62D3-1D877B5000A9}"/>
              </a:ext>
            </a:extLst>
          </p:cNvPr>
          <p:cNvSpPr txBox="1"/>
          <p:nvPr/>
        </p:nvSpPr>
        <p:spPr>
          <a:xfrm>
            <a:off x="231981" y="3156190"/>
            <a:ext cx="2099833" cy="738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7">
              <a:defRPr/>
            </a:pPr>
            <a:r>
              <a:rPr lang="it-IT" sz="12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RIOSI</a:t>
            </a:r>
          </a:p>
          <a:p>
            <a:pPr defTabSz="914127">
              <a:defRPr/>
            </a:pPr>
            <a:r>
              <a:rPr lang="it-IT" sz="12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OSFERELLA</a:t>
            </a:r>
          </a:p>
          <a:p>
            <a:pPr defTabSz="914127">
              <a:defRPr/>
            </a:pPr>
            <a:r>
              <a:rPr lang="it-IT" sz="12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ICILLIUM</a:t>
            </a:r>
          </a:p>
          <a:p>
            <a:pPr defTabSz="914127">
              <a:defRPr/>
            </a:pPr>
            <a:r>
              <a:rPr lang="it-IT" sz="12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TOTRICHUM</a:t>
            </a:r>
          </a:p>
        </p:txBody>
      </p:sp>
      <p:sp>
        <p:nvSpPr>
          <p:cNvPr id="167" name="CasellaDiTesto 166">
            <a:extLst>
              <a:ext uri="{FF2B5EF4-FFF2-40B4-BE49-F238E27FC236}">
                <a16:creationId xmlns:a16="http://schemas.microsoft.com/office/drawing/2014/main" id="{7C2A03B8-04CC-46BE-326C-22A88D6DADA4}"/>
              </a:ext>
            </a:extLst>
          </p:cNvPr>
          <p:cNvSpPr txBox="1"/>
          <p:nvPr/>
        </p:nvSpPr>
        <p:spPr>
          <a:xfrm>
            <a:off x="245408" y="5454478"/>
            <a:ext cx="2099833" cy="553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7">
              <a:defRPr/>
            </a:pPr>
            <a:r>
              <a:rPr lang="it-IT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ARI</a:t>
            </a:r>
            <a:br>
              <a:rPr lang="it-IT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2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TRANYCHUS SPP</a:t>
            </a:r>
          </a:p>
          <a:p>
            <a:pPr defTabSz="914127">
              <a:defRPr/>
            </a:pPr>
            <a:r>
              <a:rPr lang="it-IT" sz="12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ONYCHUS CITRI</a:t>
            </a:r>
          </a:p>
        </p:txBody>
      </p:sp>
      <p:grpSp>
        <p:nvGrpSpPr>
          <p:cNvPr id="168" name="Gruppo 167">
            <a:extLst>
              <a:ext uri="{FF2B5EF4-FFF2-40B4-BE49-F238E27FC236}">
                <a16:creationId xmlns:a16="http://schemas.microsoft.com/office/drawing/2014/main" id="{3EE2DED7-B176-9B4F-AAE7-D277098D39D5}"/>
              </a:ext>
            </a:extLst>
          </p:cNvPr>
          <p:cNvGrpSpPr/>
          <p:nvPr/>
        </p:nvGrpSpPr>
        <p:grpSpPr>
          <a:xfrm>
            <a:off x="2167093" y="950197"/>
            <a:ext cx="2178476" cy="302728"/>
            <a:chOff x="1067758" y="1175667"/>
            <a:chExt cx="2178760" cy="302767"/>
          </a:xfrm>
        </p:grpSpPr>
        <p:sp>
          <p:nvSpPr>
            <p:cNvPr id="169" name="CasellaDiTesto 168">
              <a:extLst>
                <a:ext uri="{FF2B5EF4-FFF2-40B4-BE49-F238E27FC236}">
                  <a16:creationId xmlns:a16="http://schemas.microsoft.com/office/drawing/2014/main" id="{ABD806C0-058A-F5EA-E04C-26B07A6339FE}"/>
                </a:ext>
              </a:extLst>
            </p:cNvPr>
            <p:cNvSpPr txBox="1"/>
            <p:nvPr/>
          </p:nvSpPr>
          <p:spPr>
            <a:xfrm>
              <a:off x="1146412" y="1193157"/>
              <a:ext cx="210010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27">
                <a:defRPr/>
              </a:pP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LUNGAMENTO</a:t>
              </a:r>
              <a:b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it-IT" sz="7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RMOGLI</a:t>
              </a:r>
            </a:p>
          </p:txBody>
        </p:sp>
        <p:cxnSp>
          <p:nvCxnSpPr>
            <p:cNvPr id="170" name="Connettore 1 224">
              <a:extLst>
                <a:ext uri="{FF2B5EF4-FFF2-40B4-BE49-F238E27FC236}">
                  <a16:creationId xmlns:a16="http://schemas.microsoft.com/office/drawing/2014/main" id="{AB451AC8-CEC5-5503-A5E1-D14802DDB08F}"/>
                </a:ext>
              </a:extLst>
            </p:cNvPr>
            <p:cNvCxnSpPr>
              <a:cxnSpLocks/>
            </p:cNvCxnSpPr>
            <p:nvPr/>
          </p:nvCxnSpPr>
          <p:spPr>
            <a:xfrm>
              <a:off x="1067758" y="1175667"/>
              <a:ext cx="0" cy="302767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1" name="Rettangolo 170">
            <a:extLst>
              <a:ext uri="{FF2B5EF4-FFF2-40B4-BE49-F238E27FC236}">
                <a16:creationId xmlns:a16="http://schemas.microsoft.com/office/drawing/2014/main" id="{F033F351-2984-DD2C-4765-A53F4ACC0E95}"/>
              </a:ext>
            </a:extLst>
          </p:cNvPr>
          <p:cNvSpPr/>
          <p:nvPr/>
        </p:nvSpPr>
        <p:spPr>
          <a:xfrm>
            <a:off x="10864595" y="1252926"/>
            <a:ext cx="1325817" cy="4830960"/>
          </a:xfrm>
          <a:prstGeom prst="rect">
            <a:avLst/>
          </a:prstGeom>
          <a:solidFill>
            <a:schemeClr val="accent6">
              <a:lumMod val="75000"/>
              <a:alpha val="1003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it-IT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74" name="Immagine 173" descr="Immagine che contiene albero, aria aperta, pianta, foglia&#10;&#10;Il contenuto generato dall'IA potrebbe non essere corretto.">
            <a:extLst>
              <a:ext uri="{FF2B5EF4-FFF2-40B4-BE49-F238E27FC236}">
                <a16:creationId xmlns:a16="http://schemas.microsoft.com/office/drawing/2014/main" id="{4F3C5A34-BFD9-77DB-B739-99773D2C5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76" t="22925" r="-6376" b="171"/>
          <a:stretch>
            <a:fillRect/>
          </a:stretch>
        </p:blipFill>
        <p:spPr>
          <a:xfrm>
            <a:off x="3672062" y="1279935"/>
            <a:ext cx="1716976" cy="990298"/>
          </a:xfrm>
          <a:prstGeom prst="rect">
            <a:avLst/>
          </a:prstGeom>
        </p:spPr>
      </p:pic>
      <p:pic>
        <p:nvPicPr>
          <p:cNvPr id="176" name="Immagine 175" descr="Immagine che contiene pianta, Pianta terrestre, Fusto della pianta, Pianta da seme&#10;&#10;Il contenuto generato dall'IA potrebbe non essere corretto.">
            <a:extLst>
              <a:ext uri="{FF2B5EF4-FFF2-40B4-BE49-F238E27FC236}">
                <a16:creationId xmlns:a16="http://schemas.microsoft.com/office/drawing/2014/main" id="{CAB576A3-160F-10DE-9C6E-4D533CF063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4" r="6018"/>
          <a:stretch>
            <a:fillRect/>
          </a:stretch>
        </p:blipFill>
        <p:spPr>
          <a:xfrm>
            <a:off x="6635769" y="1282722"/>
            <a:ext cx="1469189" cy="981649"/>
          </a:xfrm>
          <a:prstGeom prst="rect">
            <a:avLst/>
          </a:prstGeom>
        </p:spPr>
      </p:pic>
      <p:pic>
        <p:nvPicPr>
          <p:cNvPr id="178" name="Immagine 177" descr="Immagine che contiene frutto, albero, prodotto, Cibo naturale&#10;&#10;Il contenuto generato dall'IA potrebbe non essere corretto.">
            <a:extLst>
              <a:ext uri="{FF2B5EF4-FFF2-40B4-BE49-F238E27FC236}">
                <a16:creationId xmlns:a16="http://schemas.microsoft.com/office/drawing/2014/main" id="{8D840747-9A4D-5713-B1AD-8C93BBE713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53"/>
          <a:stretch>
            <a:fillRect/>
          </a:stretch>
        </p:blipFill>
        <p:spPr>
          <a:xfrm>
            <a:off x="10867959" y="1282478"/>
            <a:ext cx="1307434" cy="961574"/>
          </a:xfrm>
          <a:prstGeom prst="rect">
            <a:avLst/>
          </a:prstGeom>
        </p:spPr>
      </p:pic>
      <p:pic>
        <p:nvPicPr>
          <p:cNvPr id="184" name="Immagine 183" descr="Immagine che contiene frutto, agrume, prodotto, Cibo naturale&#10;&#10;Il contenuto generato dall'IA potrebbe non essere corretto.">
            <a:extLst>
              <a:ext uri="{FF2B5EF4-FFF2-40B4-BE49-F238E27FC236}">
                <a16:creationId xmlns:a16="http://schemas.microsoft.com/office/drawing/2014/main" id="{94F01ABA-061D-3674-97E2-81BCCA18E6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18"/>
          <a:stretch>
            <a:fillRect/>
          </a:stretch>
        </p:blipFill>
        <p:spPr>
          <a:xfrm>
            <a:off x="9623086" y="1281650"/>
            <a:ext cx="1248553" cy="962402"/>
          </a:xfrm>
          <a:prstGeom prst="rect">
            <a:avLst/>
          </a:prstGeom>
        </p:spPr>
      </p:pic>
      <p:pic>
        <p:nvPicPr>
          <p:cNvPr id="186" name="Immagine 185" descr="Immagine che contiene pianta, verde, frutto, foglia&#10;&#10;Il contenuto generato dall'IA potrebbe non essere corretto.">
            <a:extLst>
              <a:ext uri="{FF2B5EF4-FFF2-40B4-BE49-F238E27FC236}">
                <a16:creationId xmlns:a16="http://schemas.microsoft.com/office/drawing/2014/main" id="{A4CA5BA3-F9C9-B1B5-1022-6FC345B2CB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612"/>
          <a:stretch>
            <a:fillRect/>
          </a:stretch>
        </p:blipFill>
        <p:spPr>
          <a:xfrm>
            <a:off x="8102585" y="1281648"/>
            <a:ext cx="1529373" cy="962403"/>
          </a:xfrm>
          <a:prstGeom prst="rect">
            <a:avLst/>
          </a:prstGeom>
        </p:spPr>
      </p:pic>
      <p:pic>
        <p:nvPicPr>
          <p:cNvPr id="208" name="Immagine 207" descr="Immagine che contiene gelsomino, pianta, foglia, verde&#10;&#10;Il contenuto generato dall'IA potrebbe non essere corretto.">
            <a:extLst>
              <a:ext uri="{FF2B5EF4-FFF2-40B4-BE49-F238E27FC236}">
                <a16:creationId xmlns:a16="http://schemas.microsoft.com/office/drawing/2014/main" id="{9CB979BF-F9A7-56EA-2A87-70BA80EDC9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9140" y="1279933"/>
            <a:ext cx="1500454" cy="990299"/>
          </a:xfrm>
          <a:prstGeom prst="rect">
            <a:avLst/>
          </a:prstGeom>
        </p:spPr>
      </p:pic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0A2B4F80-353C-85EB-25A2-A0E83EF56AB8}"/>
              </a:ext>
            </a:extLst>
          </p:cNvPr>
          <p:cNvSpPr/>
          <p:nvPr/>
        </p:nvSpPr>
        <p:spPr>
          <a:xfrm>
            <a:off x="6026424" y="2314593"/>
            <a:ext cx="2053779" cy="581891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Cabrio</a:t>
            </a:r>
            <a:r>
              <a:rPr lang="it-IT" baseline="30000" dirty="0"/>
              <a:t>®</a:t>
            </a:r>
            <a:r>
              <a:rPr lang="it-IT" dirty="0"/>
              <a:t> WG</a:t>
            </a:r>
          </a:p>
          <a:p>
            <a:pPr algn="ctr"/>
            <a:r>
              <a:rPr lang="it-IT" dirty="0"/>
              <a:t>1 kg/ha</a:t>
            </a: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FCED2709-4290-7A18-5B43-5C930D49701A}"/>
              </a:ext>
            </a:extLst>
          </p:cNvPr>
          <p:cNvSpPr/>
          <p:nvPr/>
        </p:nvSpPr>
        <p:spPr>
          <a:xfrm>
            <a:off x="9643296" y="2705491"/>
            <a:ext cx="1976486" cy="581891"/>
          </a:xfrm>
          <a:prstGeom prst="roundRect">
            <a:avLst/>
          </a:prstGeom>
          <a:solidFill>
            <a:srgbClr val="65AC1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Revysion</a:t>
            </a:r>
            <a:r>
              <a:rPr lang="it-IT" baseline="30000" dirty="0"/>
              <a:t>®</a:t>
            </a:r>
            <a:endParaRPr lang="it-IT" dirty="0"/>
          </a:p>
          <a:p>
            <a:pPr algn="ctr"/>
            <a:r>
              <a:rPr lang="it-IT" dirty="0"/>
              <a:t>1,5 l/ha</a:t>
            </a:r>
          </a:p>
        </p:txBody>
      </p:sp>
      <p:sp>
        <p:nvSpPr>
          <p:cNvPr id="9" name="Esplosione: 8 punte 8">
            <a:extLst>
              <a:ext uri="{FF2B5EF4-FFF2-40B4-BE49-F238E27FC236}">
                <a16:creationId xmlns:a16="http://schemas.microsoft.com/office/drawing/2014/main" id="{1F5AAC56-897E-54F0-BF25-9A9D10111DFA}"/>
              </a:ext>
            </a:extLst>
          </p:cNvPr>
          <p:cNvSpPr/>
          <p:nvPr/>
        </p:nvSpPr>
        <p:spPr>
          <a:xfrm>
            <a:off x="11122286" y="2275115"/>
            <a:ext cx="810434" cy="603896"/>
          </a:xfrm>
          <a:prstGeom prst="irregularSeal1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50" dirty="0">
                <a:solidFill>
                  <a:schemeClr val="bg1"/>
                </a:solidFill>
              </a:rPr>
              <a:t>New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9A97A055-0AE3-44FC-6F11-123F3C8C83C0}"/>
              </a:ext>
            </a:extLst>
          </p:cNvPr>
          <p:cNvSpPr txBox="1"/>
          <p:nvPr/>
        </p:nvSpPr>
        <p:spPr>
          <a:xfrm>
            <a:off x="9728534" y="3403077"/>
            <a:ext cx="23339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800" dirty="0"/>
              <a:t>Prodotto in corso di estensione di impiego. </a:t>
            </a:r>
          </a:p>
          <a:p>
            <a:r>
              <a:rPr lang="it-IT" sz="800" dirty="0"/>
              <a:t>Richiesta di uso emergenziale approvata dai Servizi Fitosanitari</a:t>
            </a:r>
          </a:p>
        </p:txBody>
      </p:sp>
      <p:sp>
        <p:nvSpPr>
          <p:cNvPr id="27" name="Rettangolo con angoli arrotondati 26">
            <a:extLst>
              <a:ext uri="{FF2B5EF4-FFF2-40B4-BE49-F238E27FC236}">
                <a16:creationId xmlns:a16="http://schemas.microsoft.com/office/drawing/2014/main" id="{3675F1D3-E88E-F137-A275-99D412F555F2}"/>
              </a:ext>
            </a:extLst>
          </p:cNvPr>
          <p:cNvSpPr/>
          <p:nvPr/>
        </p:nvSpPr>
        <p:spPr>
          <a:xfrm>
            <a:off x="6961517" y="4077939"/>
            <a:ext cx="2536166" cy="581891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Nealta</a:t>
            </a:r>
            <a:r>
              <a:rPr lang="it-IT" baseline="30000" dirty="0"/>
              <a:t>®</a:t>
            </a:r>
            <a:r>
              <a:rPr lang="it-IT" dirty="0"/>
              <a:t> </a:t>
            </a:r>
          </a:p>
          <a:p>
            <a:pPr algn="ctr"/>
            <a:r>
              <a:rPr lang="it-IT" dirty="0"/>
              <a:t>1 l/ha</a:t>
            </a:r>
          </a:p>
        </p:txBody>
      </p:sp>
      <p:sp>
        <p:nvSpPr>
          <p:cNvPr id="28" name="Rettangolo con angoli arrotondati 27">
            <a:extLst>
              <a:ext uri="{FF2B5EF4-FFF2-40B4-BE49-F238E27FC236}">
                <a16:creationId xmlns:a16="http://schemas.microsoft.com/office/drawing/2014/main" id="{99D33B82-A836-3DDB-8B58-4B31322F0CDB}"/>
              </a:ext>
            </a:extLst>
          </p:cNvPr>
          <p:cNvSpPr/>
          <p:nvPr/>
        </p:nvSpPr>
        <p:spPr>
          <a:xfrm>
            <a:off x="9643296" y="4858349"/>
            <a:ext cx="2490818" cy="581891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Essen’ciel™</a:t>
            </a:r>
          </a:p>
          <a:p>
            <a:pPr algn="ctr"/>
            <a:r>
              <a:rPr lang="it-IT" dirty="0"/>
              <a:t>0,2-0,3%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CE065DC3-4E07-BED6-4327-01D14A03C1B6}"/>
              </a:ext>
            </a:extLst>
          </p:cNvPr>
          <p:cNvSpPr txBox="1"/>
          <p:nvPr/>
        </p:nvSpPr>
        <p:spPr>
          <a:xfrm>
            <a:off x="7154193" y="4745192"/>
            <a:ext cx="233397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800" dirty="0"/>
              <a:t>Alla comparsa delle prime forme mobili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919CD06C-AB6D-22E7-6FA2-AE0784AA5A5E}"/>
              </a:ext>
            </a:extLst>
          </p:cNvPr>
          <p:cNvSpPr txBox="1"/>
          <p:nvPr/>
        </p:nvSpPr>
        <p:spPr>
          <a:xfrm>
            <a:off x="9800144" y="5490037"/>
            <a:ext cx="23339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800" dirty="0"/>
              <a:t>0,2% in miscela con altri acaricidi</a:t>
            </a:r>
          </a:p>
          <a:p>
            <a:r>
              <a:rPr lang="it-IT" sz="800" dirty="0"/>
              <a:t>0,25% in miscela con </a:t>
            </a:r>
            <a:r>
              <a:rPr lang="it-IT" sz="800" dirty="0" err="1"/>
              <a:t>Kumulus</a:t>
            </a:r>
            <a:r>
              <a:rPr lang="it-IT" sz="800" baseline="30000" dirty="0"/>
              <a:t>®</a:t>
            </a:r>
            <a:r>
              <a:rPr lang="it-IT" sz="800" dirty="0"/>
              <a:t> Tecno</a:t>
            </a:r>
          </a:p>
          <a:p>
            <a:r>
              <a:rPr lang="it-IT" sz="800" dirty="0"/>
              <a:t>0,3% da solo</a:t>
            </a:r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8F54A7CC-F8F8-64BB-F198-71E41A2F1F10}"/>
              </a:ext>
            </a:extLst>
          </p:cNvPr>
          <p:cNvSpPr/>
          <p:nvPr/>
        </p:nvSpPr>
        <p:spPr>
          <a:xfrm flipV="1">
            <a:off x="5271097" y="6662377"/>
            <a:ext cx="1562839" cy="195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651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1101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1E10C4-0520-FDCD-4F8E-DD044E69DE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reeform 11">
            <a:extLst>
              <a:ext uri="{FF2B5EF4-FFF2-40B4-BE49-F238E27FC236}">
                <a16:creationId xmlns:a16="http://schemas.microsoft.com/office/drawing/2014/main" id="{C4EDB8F6-3F18-CB2A-AEDB-D31514B21279}"/>
              </a:ext>
            </a:extLst>
          </p:cNvPr>
          <p:cNvSpPr/>
          <p:nvPr/>
        </p:nvSpPr>
        <p:spPr>
          <a:xfrm rot="5400000">
            <a:off x="7413698" y="2080841"/>
            <a:ext cx="5280150" cy="4273277"/>
          </a:xfrm>
          <a:custGeom>
            <a:avLst/>
            <a:gdLst>
              <a:gd name="connsiteX0" fmla="*/ 216045 w 5280838"/>
              <a:gd name="connsiteY0" fmla="*/ 0 h 4273833"/>
              <a:gd name="connsiteX1" fmla="*/ 5280838 w 5280838"/>
              <a:gd name="connsiteY1" fmla="*/ 0 h 4273833"/>
              <a:gd name="connsiteX2" fmla="*/ 5280838 w 5280838"/>
              <a:gd name="connsiteY2" fmla="*/ 3421579 h 4273833"/>
              <a:gd name="connsiteX3" fmla="*/ 5131088 w 5280838"/>
              <a:gd name="connsiteY3" fmla="*/ 3557681 h 4273833"/>
              <a:gd name="connsiteX4" fmla="*/ 3136184 w 5280838"/>
              <a:gd name="connsiteY4" fmla="*/ 4273833 h 4273833"/>
              <a:gd name="connsiteX5" fmla="*/ 0 w 5280838"/>
              <a:gd name="connsiteY5" fmla="*/ 1137649 h 4273833"/>
              <a:gd name="connsiteX6" fmla="*/ 140998 w 5280838"/>
              <a:gd name="connsiteY6" fmla="*/ 205043 h 4273833"/>
              <a:gd name="connsiteX7" fmla="*/ 216045 w 5280838"/>
              <a:gd name="connsiteY7" fmla="*/ 0 h 4273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80838" h="4273833">
                <a:moveTo>
                  <a:pt x="216045" y="0"/>
                </a:moveTo>
                <a:lnTo>
                  <a:pt x="5280838" y="0"/>
                </a:lnTo>
                <a:lnTo>
                  <a:pt x="5280838" y="3421579"/>
                </a:lnTo>
                <a:lnTo>
                  <a:pt x="5131088" y="3557681"/>
                </a:lnTo>
                <a:cubicBezTo>
                  <a:pt x="4588971" y="4005076"/>
                  <a:pt x="3893963" y="4273833"/>
                  <a:pt x="3136184" y="4273833"/>
                </a:cubicBezTo>
                <a:cubicBezTo>
                  <a:pt x="1404117" y="4273833"/>
                  <a:pt x="0" y="2869716"/>
                  <a:pt x="0" y="1137649"/>
                </a:cubicBezTo>
                <a:cubicBezTo>
                  <a:pt x="0" y="812886"/>
                  <a:pt x="49364" y="499653"/>
                  <a:pt x="140998" y="205043"/>
                </a:cubicBezTo>
                <a:lnTo>
                  <a:pt x="216045" y="0"/>
                </a:lnTo>
                <a:close/>
              </a:path>
            </a:pathLst>
          </a:custGeom>
          <a:solidFill>
            <a:schemeClr val="accent3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5B8F136-7DF5-1AEA-C4F8-3D64468823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306" imgH="306" progId="TCLayout.ActiveDocument.1">
                  <p:embed/>
                </p:oleObj>
              </mc:Choice>
              <mc:Fallback>
                <p:oleObj name="Diapositiva think-cell" r:id="rId6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B8F136-7DF5-1AEA-C4F8-3D6446882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7" name="Gruppieren 7">
            <a:extLst>
              <a:ext uri="{FF2B5EF4-FFF2-40B4-BE49-F238E27FC236}">
                <a16:creationId xmlns:a16="http://schemas.microsoft.com/office/drawing/2014/main" id="{052827C3-E90C-382C-A789-E75E7D35AA96}"/>
              </a:ext>
            </a:extLst>
          </p:cNvPr>
          <p:cNvGrpSpPr/>
          <p:nvPr/>
        </p:nvGrpSpPr>
        <p:grpSpPr>
          <a:xfrm>
            <a:off x="9596699" y="6091881"/>
            <a:ext cx="2591326" cy="539860"/>
            <a:chOff x="9597610" y="6092575"/>
            <a:chExt cx="2592000" cy="540000"/>
          </a:xfrm>
        </p:grpSpPr>
        <p:sp>
          <p:nvSpPr>
            <p:cNvPr id="98" name="Rechteck 11">
              <a:extLst>
                <a:ext uri="{FF2B5EF4-FFF2-40B4-BE49-F238E27FC236}">
                  <a16:creationId xmlns:a16="http://schemas.microsoft.com/office/drawing/2014/main" id="{B216B386-9BC9-F74B-C315-A00AA5D4EA11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99" name="Grafik 6">
              <a:extLst>
                <a:ext uri="{FF2B5EF4-FFF2-40B4-BE49-F238E27FC236}">
                  <a16:creationId xmlns:a16="http://schemas.microsoft.com/office/drawing/2014/main" id="{48936B0C-3EE9-A481-7D94-7AE2405721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grpSp>
        <p:nvGrpSpPr>
          <p:cNvPr id="23" name="Gruppieren 34">
            <a:extLst>
              <a:ext uri="{FF2B5EF4-FFF2-40B4-BE49-F238E27FC236}">
                <a16:creationId xmlns:a16="http://schemas.microsoft.com/office/drawing/2014/main" id="{2F7299B7-31CC-BBCE-C2E3-E7B6FA387967}"/>
              </a:ext>
            </a:extLst>
          </p:cNvPr>
          <p:cNvGrpSpPr>
            <a:grpSpLocks noChangeAspect="1"/>
          </p:cNvGrpSpPr>
          <p:nvPr/>
        </p:nvGrpSpPr>
        <p:grpSpPr>
          <a:xfrm>
            <a:off x="3194832" y="2973480"/>
            <a:ext cx="710462" cy="309722"/>
            <a:chOff x="10610460" y="17489755"/>
            <a:chExt cx="1416701" cy="617598"/>
          </a:xfrm>
        </p:grpSpPr>
        <p:sp>
          <p:nvSpPr>
            <p:cNvPr id="26" name="Rechteck 36">
              <a:extLst>
                <a:ext uri="{FF2B5EF4-FFF2-40B4-BE49-F238E27FC236}">
                  <a16:creationId xmlns:a16="http://schemas.microsoft.com/office/drawing/2014/main" id="{B16B1BC1-6438-EE25-FE58-A22E60DD01F9}"/>
                </a:ext>
              </a:extLst>
            </p:cNvPr>
            <p:cNvSpPr/>
            <p:nvPr/>
          </p:nvSpPr>
          <p:spPr>
            <a:xfrm>
              <a:off x="10610460" y="17489755"/>
              <a:ext cx="385107" cy="49096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sp>
          <p:nvSpPr>
            <p:cNvPr id="27" name="Rechteck 37">
              <a:extLst>
                <a:ext uri="{FF2B5EF4-FFF2-40B4-BE49-F238E27FC236}">
                  <a16:creationId xmlns:a16="http://schemas.microsoft.com/office/drawing/2014/main" id="{16039302-D0C8-8E2B-891F-A3F1A1DC178F}"/>
                </a:ext>
              </a:extLst>
            </p:cNvPr>
            <p:cNvSpPr/>
            <p:nvPr/>
          </p:nvSpPr>
          <p:spPr>
            <a:xfrm>
              <a:off x="11434946" y="17616391"/>
              <a:ext cx="592215" cy="49096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</p:grpSp>
      <p:sp>
        <p:nvSpPr>
          <p:cNvPr id="31" name="Freeform 11">
            <a:extLst>
              <a:ext uri="{FF2B5EF4-FFF2-40B4-BE49-F238E27FC236}">
                <a16:creationId xmlns:a16="http://schemas.microsoft.com/office/drawing/2014/main" id="{DFFD2116-16C9-3A38-6DE8-93AB030C1A43}"/>
              </a:ext>
            </a:extLst>
          </p:cNvPr>
          <p:cNvSpPr/>
          <p:nvPr/>
        </p:nvSpPr>
        <p:spPr>
          <a:xfrm>
            <a:off x="7555380" y="447"/>
            <a:ext cx="5115310" cy="4273277"/>
          </a:xfrm>
          <a:custGeom>
            <a:avLst/>
            <a:gdLst>
              <a:gd name="connsiteX0" fmla="*/ 216045 w 5280838"/>
              <a:gd name="connsiteY0" fmla="*/ 0 h 4273833"/>
              <a:gd name="connsiteX1" fmla="*/ 5280838 w 5280838"/>
              <a:gd name="connsiteY1" fmla="*/ 0 h 4273833"/>
              <a:gd name="connsiteX2" fmla="*/ 5280838 w 5280838"/>
              <a:gd name="connsiteY2" fmla="*/ 3421579 h 4273833"/>
              <a:gd name="connsiteX3" fmla="*/ 5131088 w 5280838"/>
              <a:gd name="connsiteY3" fmla="*/ 3557681 h 4273833"/>
              <a:gd name="connsiteX4" fmla="*/ 3136184 w 5280838"/>
              <a:gd name="connsiteY4" fmla="*/ 4273833 h 4273833"/>
              <a:gd name="connsiteX5" fmla="*/ 0 w 5280838"/>
              <a:gd name="connsiteY5" fmla="*/ 1137649 h 4273833"/>
              <a:gd name="connsiteX6" fmla="*/ 140998 w 5280838"/>
              <a:gd name="connsiteY6" fmla="*/ 205043 h 4273833"/>
              <a:gd name="connsiteX7" fmla="*/ 216045 w 5280838"/>
              <a:gd name="connsiteY7" fmla="*/ 0 h 4273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80838" h="4273833">
                <a:moveTo>
                  <a:pt x="216045" y="0"/>
                </a:moveTo>
                <a:lnTo>
                  <a:pt x="5280838" y="0"/>
                </a:lnTo>
                <a:lnTo>
                  <a:pt x="5280838" y="3421579"/>
                </a:lnTo>
                <a:lnTo>
                  <a:pt x="5131088" y="3557681"/>
                </a:lnTo>
                <a:cubicBezTo>
                  <a:pt x="4588971" y="4005076"/>
                  <a:pt x="3893963" y="4273833"/>
                  <a:pt x="3136184" y="4273833"/>
                </a:cubicBezTo>
                <a:cubicBezTo>
                  <a:pt x="1404117" y="4273833"/>
                  <a:pt x="0" y="2869716"/>
                  <a:pt x="0" y="1137649"/>
                </a:cubicBezTo>
                <a:cubicBezTo>
                  <a:pt x="0" y="812886"/>
                  <a:pt x="49364" y="499653"/>
                  <a:pt x="140998" y="205043"/>
                </a:cubicBezTo>
                <a:lnTo>
                  <a:pt x="216045" y="0"/>
                </a:lnTo>
                <a:close/>
              </a:path>
            </a:pathLst>
          </a:custGeom>
          <a:solidFill>
            <a:schemeClr val="accent3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41" name="Picture 23" descr="A close up of a bug&#10;&#10;Description automatically generated">
            <a:extLst>
              <a:ext uri="{FF2B5EF4-FFF2-40B4-BE49-F238E27FC236}">
                <a16:creationId xmlns:a16="http://schemas.microsoft.com/office/drawing/2014/main" id="{A1FA3A7E-0A59-8879-D5EE-31AD8DDAE0C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3778" y="588942"/>
            <a:ext cx="516742" cy="828569"/>
          </a:xfrm>
          <a:prstGeom prst="rect">
            <a:avLst/>
          </a:prstGeom>
        </p:spPr>
      </p:pic>
      <p:grpSp>
        <p:nvGrpSpPr>
          <p:cNvPr id="12" name="Gruppo 11">
            <a:extLst>
              <a:ext uri="{FF2B5EF4-FFF2-40B4-BE49-F238E27FC236}">
                <a16:creationId xmlns:a16="http://schemas.microsoft.com/office/drawing/2014/main" id="{B8237F18-19C8-948D-43F9-22894997CEC1}"/>
              </a:ext>
            </a:extLst>
          </p:cNvPr>
          <p:cNvGrpSpPr/>
          <p:nvPr/>
        </p:nvGrpSpPr>
        <p:grpSpPr>
          <a:xfrm>
            <a:off x="7742582" y="2792381"/>
            <a:ext cx="1348731" cy="1512128"/>
            <a:chOff x="7438555" y="2948098"/>
            <a:chExt cx="1348907" cy="1512325"/>
          </a:xfrm>
        </p:grpSpPr>
        <p:pic>
          <p:nvPicPr>
            <p:cNvPr id="34" name="Picture 10" descr="A green bug with long legs&#10;&#10;Description automatically generated">
              <a:extLst>
                <a:ext uri="{FF2B5EF4-FFF2-40B4-BE49-F238E27FC236}">
                  <a16:creationId xmlns:a16="http://schemas.microsoft.com/office/drawing/2014/main" id="{CF45659A-C3E0-2B1B-1E50-711AED1A3B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38555" y="2948098"/>
              <a:ext cx="1348907" cy="1296623"/>
            </a:xfrm>
            <a:prstGeom prst="rect">
              <a:avLst/>
            </a:prstGeom>
          </p:spPr>
        </p:pic>
        <p:sp>
          <p:nvSpPr>
            <p:cNvPr id="45" name="MSIPCMContentMarking" descr="{&quot;HashCode&quot;:-1833516921,&quot;Placement&quot;:&quot;Footer&quot;,&quot;Top&quot;:520.3781,&quot;Left&quot;:442.536072,&quot;SlideWidth&quot;:960,&quot;SlideHeight&quot;:540}">
              <a:extLst>
                <a:ext uri="{FF2B5EF4-FFF2-40B4-BE49-F238E27FC236}">
                  <a16:creationId xmlns:a16="http://schemas.microsoft.com/office/drawing/2014/main" id="{3A16A451-0159-D649-E4A7-328B368F470D}"/>
                </a:ext>
              </a:extLst>
            </p:cNvPr>
            <p:cNvSpPr txBox="1"/>
            <p:nvPr/>
          </p:nvSpPr>
          <p:spPr>
            <a:xfrm>
              <a:off x="7578194" y="4321924"/>
              <a:ext cx="1073794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FIDI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MSIPCMContentMarking" descr="{&quot;HashCode&quot;:-1833516921,&quot;Placement&quot;:&quot;Footer&quot;,&quot;Top&quot;:520.3781,&quot;Left&quot;:442.536072,&quot;SlideWidth&quot;:960,&quot;SlideHeight&quot;:540}">
            <a:extLst>
              <a:ext uri="{FF2B5EF4-FFF2-40B4-BE49-F238E27FC236}">
                <a16:creationId xmlns:a16="http://schemas.microsoft.com/office/drawing/2014/main" id="{7637C55E-6195-8D81-DF10-CA99657BEB21}"/>
              </a:ext>
            </a:extLst>
          </p:cNvPr>
          <p:cNvSpPr txBox="1"/>
          <p:nvPr/>
        </p:nvSpPr>
        <p:spPr>
          <a:xfrm>
            <a:off x="9278285" y="1527420"/>
            <a:ext cx="1224770" cy="13848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CCINIGLI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MSIPCMContentMarking" descr="{&quot;HashCode&quot;:-1833516921,&quot;Placement&quot;:&quot;Footer&quot;,&quot;Top&quot;:520.3781,&quot;Left&quot;:442.536072,&quot;SlideWidth&quot;:960,&quot;SlideHeight&quot;:540}">
            <a:extLst>
              <a:ext uri="{FF2B5EF4-FFF2-40B4-BE49-F238E27FC236}">
                <a16:creationId xmlns:a16="http://schemas.microsoft.com/office/drawing/2014/main" id="{7CEE692C-BB49-D7C4-C6A5-88C6B5101AC0}"/>
              </a:ext>
            </a:extLst>
          </p:cNvPr>
          <p:cNvSpPr txBox="1"/>
          <p:nvPr/>
        </p:nvSpPr>
        <p:spPr>
          <a:xfrm>
            <a:off x="8638675" y="3467419"/>
            <a:ext cx="2233837" cy="13848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SILLA DEL PERO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0" name="Immagine 59">
            <a:extLst>
              <a:ext uri="{FF2B5EF4-FFF2-40B4-BE49-F238E27FC236}">
                <a16:creationId xmlns:a16="http://schemas.microsoft.com/office/drawing/2014/main" id="{F3ED4C19-5C09-EC93-5A79-363AA09801A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8818" y="1962505"/>
            <a:ext cx="1033390" cy="1504914"/>
          </a:xfrm>
          <a:prstGeom prst="rect">
            <a:avLst/>
          </a:prstGeom>
        </p:spPr>
      </p:pic>
      <p:sp>
        <p:nvSpPr>
          <p:cNvPr id="63" name="Freeform 21">
            <a:extLst>
              <a:ext uri="{FF2B5EF4-FFF2-40B4-BE49-F238E27FC236}">
                <a16:creationId xmlns:a16="http://schemas.microsoft.com/office/drawing/2014/main" id="{21C1C5C0-4C52-AB43-5CCD-1E62A5D5698B}"/>
              </a:ext>
            </a:extLst>
          </p:cNvPr>
          <p:cNvSpPr/>
          <p:nvPr/>
        </p:nvSpPr>
        <p:spPr>
          <a:xfrm>
            <a:off x="10402366" y="1728040"/>
            <a:ext cx="1799940" cy="2163827"/>
          </a:xfrm>
          <a:custGeom>
            <a:avLst/>
            <a:gdLst>
              <a:gd name="connsiteX0" fmla="*/ 2114550 w 3517900"/>
              <a:gd name="connsiteY0" fmla="*/ 0 h 4229100"/>
              <a:gd name="connsiteX1" fmla="*/ 3459600 w 3517900"/>
              <a:gd name="connsiteY1" fmla="*/ 482860 h 4229100"/>
              <a:gd name="connsiteX2" fmla="*/ 3517900 w 3517900"/>
              <a:gd name="connsiteY2" fmla="*/ 535847 h 4229100"/>
              <a:gd name="connsiteX3" fmla="*/ 3517900 w 3517900"/>
              <a:gd name="connsiteY3" fmla="*/ 3693254 h 4229100"/>
              <a:gd name="connsiteX4" fmla="*/ 3459600 w 3517900"/>
              <a:gd name="connsiteY4" fmla="*/ 3746240 h 4229100"/>
              <a:gd name="connsiteX5" fmla="*/ 2114550 w 3517900"/>
              <a:gd name="connsiteY5" fmla="*/ 4229100 h 4229100"/>
              <a:gd name="connsiteX6" fmla="*/ 0 w 3517900"/>
              <a:gd name="connsiteY6" fmla="*/ 2114550 h 4229100"/>
              <a:gd name="connsiteX7" fmla="*/ 2114550 w 3517900"/>
              <a:gd name="connsiteY7" fmla="*/ 0 h 422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17900" h="4229100">
                <a:moveTo>
                  <a:pt x="2114550" y="0"/>
                </a:moveTo>
                <a:cubicBezTo>
                  <a:pt x="2625477" y="0"/>
                  <a:pt x="3094081" y="181207"/>
                  <a:pt x="3459600" y="482860"/>
                </a:cubicBezTo>
                <a:lnTo>
                  <a:pt x="3517900" y="535847"/>
                </a:lnTo>
                <a:lnTo>
                  <a:pt x="3517900" y="3693254"/>
                </a:lnTo>
                <a:lnTo>
                  <a:pt x="3459600" y="3746240"/>
                </a:lnTo>
                <a:cubicBezTo>
                  <a:pt x="3094081" y="4047893"/>
                  <a:pt x="2625477" y="4229100"/>
                  <a:pt x="2114550" y="4229100"/>
                </a:cubicBezTo>
                <a:cubicBezTo>
                  <a:pt x="946716" y="4229100"/>
                  <a:pt x="0" y="3282384"/>
                  <a:pt x="0" y="2114550"/>
                </a:cubicBezTo>
                <a:cubicBezTo>
                  <a:pt x="0" y="946716"/>
                  <a:pt x="946716" y="0"/>
                  <a:pt x="2114550" y="0"/>
                </a:cubicBezTo>
                <a:close/>
              </a:path>
            </a:pathLst>
          </a:custGeom>
          <a:solidFill>
            <a:schemeClr val="accent2">
              <a:alpha val="9622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2" name="TextBox 64">
            <a:extLst>
              <a:ext uri="{FF2B5EF4-FFF2-40B4-BE49-F238E27FC236}">
                <a16:creationId xmlns:a16="http://schemas.microsoft.com/office/drawing/2014/main" id="{DC9CB7D3-5216-6A9A-8B03-FDE7F895933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430626" y="2409456"/>
            <a:ext cx="1654966" cy="852418"/>
          </a:xfrm>
          <a:prstGeom prst="rect">
            <a:avLst/>
          </a:prstGeom>
          <a:noFill/>
        </p:spPr>
        <p:txBody>
          <a:bodyPr wrap="square" lIns="91416" tIns="45708" rIns="91416" bIns="45708" rtlCol="0" anchor="t">
            <a:spAutoFit/>
          </a:bodyPr>
          <a:lstStyle/>
          <a:p>
            <a:pPr marL="0" marR="0" lvl="2" indent="0" algn="r" defTabSz="914218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>
                <a:srgbClr val="65AC1E"/>
              </a:buClr>
              <a:buSzTx/>
              <a:buFontTx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Spettro: </a:t>
            </a:r>
            <a:b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insetti ad apparato boccale pungente succhiante</a:t>
            </a:r>
            <a:endParaRPr kumimoji="0" lang="it-IT" alt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32" name="Picture 4" descr="A close up of a bug&#10;&#10;Description automatically generated">
            <a:extLst>
              <a:ext uri="{FF2B5EF4-FFF2-40B4-BE49-F238E27FC236}">
                <a16:creationId xmlns:a16="http://schemas.microsoft.com/office/drawing/2014/main" id="{F537C33D-CC00-1CBF-6C22-95FA4CCB2AB0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1377" y="612848"/>
            <a:ext cx="751143" cy="1414824"/>
          </a:xfrm>
          <a:prstGeom prst="rect">
            <a:avLst/>
          </a:prstGeom>
        </p:spPr>
      </p:pic>
      <p:sp>
        <p:nvSpPr>
          <p:cNvPr id="43" name="MSIPCMContentMarking" descr="{&quot;HashCode&quot;:-1833516921,&quot;Placement&quot;:&quot;Footer&quot;,&quot;Top&quot;:520.3781,&quot;Left&quot;:442.536072,&quot;SlideWidth&quot;:960,&quot;SlideHeight&quot;:540}">
            <a:extLst>
              <a:ext uri="{FF2B5EF4-FFF2-40B4-BE49-F238E27FC236}">
                <a16:creationId xmlns:a16="http://schemas.microsoft.com/office/drawing/2014/main" id="{BD834A28-154C-89B9-2D9D-9C49BD53375D}"/>
              </a:ext>
            </a:extLst>
          </p:cNvPr>
          <p:cNvSpPr txBox="1"/>
          <p:nvPr/>
        </p:nvSpPr>
        <p:spPr>
          <a:xfrm>
            <a:off x="7731062" y="2164450"/>
            <a:ext cx="1346736" cy="13848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SCHE BIANCH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72C4614B-75AE-D4B7-E346-14B7EEA8A495}"/>
              </a:ext>
            </a:extLst>
          </p:cNvPr>
          <p:cNvSpPr txBox="1"/>
          <p:nvPr/>
        </p:nvSpPr>
        <p:spPr>
          <a:xfrm>
            <a:off x="10542057" y="7474146"/>
            <a:ext cx="65" cy="2769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454FB5F2-67F4-A669-E844-E6AD9C2ACBC1}"/>
              </a:ext>
            </a:extLst>
          </p:cNvPr>
          <p:cNvSpPr txBox="1"/>
          <p:nvPr/>
        </p:nvSpPr>
        <p:spPr>
          <a:xfrm>
            <a:off x="9898085" y="7315140"/>
            <a:ext cx="65" cy="2769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8CE815DE-8821-8A9F-9150-2D8B49EA6BCA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26645" y="4583754"/>
            <a:ext cx="5316368" cy="2273796"/>
          </a:xfrm>
          <a:prstGeom prst="rect">
            <a:avLst/>
          </a:prstGeom>
        </p:spPr>
      </p:pic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A1574AFD-8A62-7187-FF0A-268682AADEAD}"/>
              </a:ext>
            </a:extLst>
          </p:cNvPr>
          <p:cNvSpPr txBox="1"/>
          <p:nvPr/>
        </p:nvSpPr>
        <p:spPr>
          <a:xfrm>
            <a:off x="291518" y="4835237"/>
            <a:ext cx="2676030" cy="861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2" indent="0" algn="l" defTabSz="91421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65AC1E"/>
              </a:buClr>
              <a:buSzTx/>
              <a:buFontTx/>
              <a:buNone/>
              <a:tabLst/>
              <a:defRPr/>
            </a:pPr>
            <a:r>
              <a:rPr kumimoji="0" lang="it-IT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Formulato: EFFICON</a:t>
            </a:r>
            <a:r>
              <a:rPr kumimoji="0" lang="it-IT" alt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endParaRPr kumimoji="0" lang="it-IT" altLang="en-US" sz="1600" b="1" i="0" u="none" strike="noStrike" kern="0" cap="none" spc="0" normalizeH="0" baseline="30000" noProof="0" dirty="0">
              <a:ln>
                <a:noFill/>
              </a:ln>
              <a:solidFill>
                <a:srgbClr val="65AC1E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0" marR="0" lvl="2" indent="0" algn="l" defTabSz="91421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65AC1E"/>
              </a:buClr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xalion</a:t>
            </a:r>
            <a:r>
              <a:rPr kumimoji="0" lang="it-IT" sz="12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®</a:t>
            </a: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(Dimpropyridaz) </a:t>
            </a: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20 g/l</a:t>
            </a:r>
            <a:b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Liquido solubile (SL)</a:t>
            </a:r>
          </a:p>
        </p:txBody>
      </p:sp>
      <p:sp>
        <p:nvSpPr>
          <p:cNvPr id="7" name="TextBox 64">
            <a:extLst>
              <a:ext uri="{FF2B5EF4-FFF2-40B4-BE49-F238E27FC236}">
                <a16:creationId xmlns:a16="http://schemas.microsoft.com/office/drawing/2014/main" id="{596EEB8D-5226-452B-3869-520D10A02E18}"/>
              </a:ext>
            </a:extLst>
          </p:cNvPr>
          <p:cNvSpPr txBox="1"/>
          <p:nvPr/>
        </p:nvSpPr>
        <p:spPr>
          <a:xfrm>
            <a:off x="291518" y="1832356"/>
            <a:ext cx="7020864" cy="29392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2" indent="0" algn="l" defTabSz="91421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65AC1E"/>
              </a:buClr>
              <a:buSzTx/>
              <a:buFontTx/>
              <a:buNone/>
              <a:tabLst/>
              <a:defRPr/>
            </a:pPr>
            <a:r>
              <a:rPr kumimoji="0" lang="it-IT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Frutto della ricerca BASF</a:t>
            </a:r>
          </a:p>
          <a:p>
            <a:pPr marL="447585" marR="0" lvl="0" indent="-212683" algn="l" defTabSz="91421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Una chimica completamente nuova </a:t>
            </a:r>
          </a:p>
          <a:p>
            <a:pPr marL="447585" marR="0" lvl="0" indent="-212683" algn="l" defTabSz="91421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Nuovo Meccanismo d’Azione </a:t>
            </a:r>
            <a:r>
              <a:rPr kumimoji="0" lang="it-IT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(Gruppo 36 IRAC)</a:t>
            </a: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0" marR="0" lvl="2" indent="0" algn="l" defTabSz="91421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65AC1E"/>
              </a:buClr>
              <a:buSzTx/>
              <a:buFontTx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Caratteristiche chiave</a:t>
            </a:r>
            <a:endParaRPr kumimoji="0" lang="it-IT" altLang="en-US" sz="1600" b="0" i="0" u="none" strike="noStrike" kern="0" cap="none" spc="0" normalizeH="0" baseline="0" noProof="0" dirty="0">
              <a:ln>
                <a:noFill/>
              </a:ln>
              <a:solidFill>
                <a:srgbClr val="65AC1E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447585" marR="0" lvl="0" indent="-212683" algn="l" defTabSz="91421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icace per </a:t>
            </a:r>
            <a:r>
              <a:rPr kumimoji="0" lang="it-IT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ingestione</a:t>
            </a:r>
            <a:r>
              <a:rPr kumimoji="0" lang="it-IT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e </a:t>
            </a:r>
            <a:r>
              <a:rPr kumimoji="0" lang="it-IT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contatto</a:t>
            </a:r>
            <a:r>
              <a:rPr kumimoji="0" lang="it-IT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su diversi stadi degli insetti dannosi</a:t>
            </a:r>
          </a:p>
          <a:p>
            <a:pPr marL="447585" marR="0" lvl="0" indent="-212683" algn="l" defTabSz="91421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Proteggere anche la nuova vegetazione non presente al momento del trattamento, grazie alle </a:t>
            </a:r>
            <a:r>
              <a:rPr kumimoji="0" lang="it-IT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proprietà sistemiche </a:t>
            </a:r>
          </a:p>
          <a:p>
            <a:pPr marL="447585" indent="-212683" defTabSz="914218">
              <a:spcBef>
                <a:spcPts val="300"/>
              </a:spcBef>
              <a:spcAft>
                <a:spcPts val="600"/>
              </a:spcAft>
              <a:buClr>
                <a:srgbClr val="65AC1E"/>
              </a:buClr>
              <a:buFont typeface="Wingdings" panose="05000000000000000000" pitchFamily="2" charset="2"/>
              <a:buChar char="§"/>
              <a:defRPr/>
            </a:pPr>
            <a:r>
              <a:rPr lang="it-IT" altLang="en-US" sz="1400" kern="0" dirty="0">
                <a:solidFill>
                  <a:srgbClr val="000000"/>
                </a:solidFill>
              </a:rPr>
              <a:t>Perfettamente </a:t>
            </a:r>
            <a:r>
              <a:rPr lang="it-IT" altLang="en-US" sz="1400" b="1" kern="0" dirty="0">
                <a:solidFill>
                  <a:srgbClr val="000000"/>
                </a:solidFill>
              </a:rPr>
              <a:t>selettivo</a:t>
            </a:r>
            <a:r>
              <a:rPr lang="it-IT" altLang="en-US" sz="1400" kern="0" dirty="0">
                <a:solidFill>
                  <a:srgbClr val="000000"/>
                </a:solidFill>
              </a:rPr>
              <a:t> per le colture</a:t>
            </a:r>
            <a:endParaRPr kumimoji="0" lang="it-IT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447585" marR="0" lvl="0" indent="-212683" algn="l" defTabSz="91421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ltamente </a:t>
            </a:r>
            <a:r>
              <a:rPr kumimoji="0" lang="it-IT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compatibile con gli insetti utili</a:t>
            </a:r>
          </a:p>
        </p:txBody>
      </p:sp>
      <p:grpSp>
        <p:nvGrpSpPr>
          <p:cNvPr id="29" name="Gruppo 28">
            <a:extLst>
              <a:ext uri="{FF2B5EF4-FFF2-40B4-BE49-F238E27FC236}">
                <a16:creationId xmlns:a16="http://schemas.microsoft.com/office/drawing/2014/main" id="{2274432B-0970-DD82-04FF-FF781E481B16}"/>
              </a:ext>
            </a:extLst>
          </p:cNvPr>
          <p:cNvGrpSpPr/>
          <p:nvPr/>
        </p:nvGrpSpPr>
        <p:grpSpPr>
          <a:xfrm>
            <a:off x="8363301" y="4020837"/>
            <a:ext cx="2233837" cy="1848492"/>
            <a:chOff x="6856810" y="2722035"/>
            <a:chExt cx="2234128" cy="1848733"/>
          </a:xfrm>
        </p:grpSpPr>
        <p:pic>
          <p:nvPicPr>
            <p:cNvPr id="35" name="Picture 13" descr="A green bug with black background&#10;&#10;Description automatically generated">
              <a:extLst>
                <a:ext uri="{FF2B5EF4-FFF2-40B4-BE49-F238E27FC236}">
                  <a16:creationId xmlns:a16="http://schemas.microsoft.com/office/drawing/2014/main" id="{94633615-2274-4332-7272-1515BC07DF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55487" y="2722035"/>
              <a:ext cx="825668" cy="1574115"/>
            </a:xfrm>
            <a:prstGeom prst="rect">
              <a:avLst/>
            </a:prstGeom>
          </p:spPr>
        </p:pic>
        <p:sp>
          <p:nvSpPr>
            <p:cNvPr id="55" name="MSIPCMContentMarking" descr="{&quot;HashCode&quot;:-1833516921,&quot;Placement&quot;:&quot;Footer&quot;,&quot;Top&quot;:520.3781,&quot;Left&quot;:442.536072,&quot;SlideWidth&quot;:960,&quot;SlideHeight&quot;:540}">
              <a:extLst>
                <a:ext uri="{FF2B5EF4-FFF2-40B4-BE49-F238E27FC236}">
                  <a16:creationId xmlns:a16="http://schemas.microsoft.com/office/drawing/2014/main" id="{CA1321C0-DE68-C90F-8397-38553AA03C4B}"/>
                </a:ext>
              </a:extLst>
            </p:cNvPr>
            <p:cNvSpPr txBox="1"/>
            <p:nvPr/>
          </p:nvSpPr>
          <p:spPr>
            <a:xfrm>
              <a:off x="6856810" y="4432269"/>
              <a:ext cx="2234128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ICALINE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BA0DCB95-159F-E9EB-E7EB-871F86092341}"/>
              </a:ext>
            </a:extLst>
          </p:cNvPr>
          <p:cNvGrpSpPr/>
          <p:nvPr/>
        </p:nvGrpSpPr>
        <p:grpSpPr>
          <a:xfrm>
            <a:off x="10342530" y="3596388"/>
            <a:ext cx="1763967" cy="1720230"/>
            <a:chOff x="7268550" y="701540"/>
            <a:chExt cx="1764197" cy="1720454"/>
          </a:xfrm>
        </p:grpSpPr>
        <p:pic>
          <p:nvPicPr>
            <p:cNvPr id="36" name="Picture 17" descr="A close up of a bug&#10;&#10;Description automatically generated">
              <a:extLst>
                <a:ext uri="{FF2B5EF4-FFF2-40B4-BE49-F238E27FC236}">
                  <a16:creationId xmlns:a16="http://schemas.microsoft.com/office/drawing/2014/main" id="{5DB30730-C049-852E-265A-E31DA5165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68550" y="701540"/>
              <a:ext cx="1764197" cy="1526595"/>
            </a:xfrm>
            <a:prstGeom prst="rect">
              <a:avLst/>
            </a:prstGeom>
          </p:spPr>
        </p:pic>
        <p:sp>
          <p:nvSpPr>
            <p:cNvPr id="56" name="MSIPCMContentMarking" descr="{&quot;HashCode&quot;:-1833516921,&quot;Placement&quot;:&quot;Footer&quot;,&quot;Top&quot;:520.3781,&quot;Left&quot;:442.536072,&quot;SlideWidth&quot;:960,&quot;SlideHeight&quot;:540}">
              <a:extLst>
                <a:ext uri="{FF2B5EF4-FFF2-40B4-BE49-F238E27FC236}">
                  <a16:creationId xmlns:a16="http://schemas.microsoft.com/office/drawing/2014/main" id="{56077F25-F389-BC9F-361B-A1144CB0AE1E}"/>
                </a:ext>
              </a:extLst>
            </p:cNvPr>
            <p:cNvSpPr txBox="1"/>
            <p:nvPr/>
          </p:nvSpPr>
          <p:spPr>
            <a:xfrm>
              <a:off x="7777760" y="2283495"/>
              <a:ext cx="731645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RIPIDI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itel 1">
            <a:extLst>
              <a:ext uri="{FF2B5EF4-FFF2-40B4-BE49-F238E27FC236}">
                <a16:creationId xmlns:a16="http://schemas.microsoft.com/office/drawing/2014/main" id="{EC070F90-6A44-3A31-9842-DE838484E99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91343" y="392074"/>
            <a:ext cx="6662265" cy="81781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3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Axalion</a:t>
            </a:r>
            <a:r>
              <a:rPr kumimoji="0" lang="en-US" sz="2800" b="1" i="0" u="none" strike="noStrike" kern="1200" cap="none" spc="0" normalizeH="0" baseline="3000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®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Active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:</a:t>
            </a:r>
          </a:p>
          <a:p>
            <a:pPr marL="0" marR="0" lvl="0" indent="0" algn="l" defTabSz="9143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innovativo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principio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attivo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insetticida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1793A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2" name="Straight Connector 10">
            <a:extLst>
              <a:ext uri="{FF2B5EF4-FFF2-40B4-BE49-F238E27FC236}">
                <a16:creationId xmlns:a16="http://schemas.microsoft.com/office/drawing/2014/main" id="{6826BC93-2B79-635F-F8D2-EC24B3FA2050}"/>
              </a:ext>
            </a:extLst>
          </p:cNvPr>
          <p:cNvCxnSpPr>
            <a:cxnSpLocks/>
          </p:cNvCxnSpPr>
          <p:nvPr/>
        </p:nvCxnSpPr>
        <p:spPr>
          <a:xfrm flipH="1">
            <a:off x="391343" y="1410735"/>
            <a:ext cx="1049242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456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2">
            <a:extLst>
              <a:ext uri="{FF2B5EF4-FFF2-40B4-BE49-F238E27FC236}">
                <a16:creationId xmlns:a16="http://schemas.microsoft.com/office/drawing/2014/main" id="{31E46704-1DDB-3645-E942-F5093CFCEF89}"/>
              </a:ext>
            </a:extLst>
          </p:cNvPr>
          <p:cNvSpPr txBox="1"/>
          <p:nvPr/>
        </p:nvSpPr>
        <p:spPr>
          <a:xfrm>
            <a:off x="7015987" y="2747802"/>
            <a:ext cx="637749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Funzione: </a:t>
            </a:r>
            <a:b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Percezione della posizione e del movimento 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dell'articolazione in seguito alle contrazioni muscolari</a:t>
            </a:r>
            <a:b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b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etto di Axalion</a:t>
            </a:r>
            <a:r>
              <a:rPr kumimoji="0" lang="it-IT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®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: </a:t>
            </a:r>
            <a:b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L’insetto perde la coordinazione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44" name="Picture 43" descr="A close up of a leaf&#10;&#10;Description automatically generated with medium confidence">
            <a:extLst>
              <a:ext uri="{FF2B5EF4-FFF2-40B4-BE49-F238E27FC236}">
                <a16:creationId xmlns:a16="http://schemas.microsoft.com/office/drawing/2014/main" id="{161D2BD1-23E9-E253-DB04-1EC6DC42DF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47"/>
            <a:ext cx="4870436" cy="6859118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DF62D882-6A79-915B-71A6-7C8614A1473F}"/>
              </a:ext>
            </a:extLst>
          </p:cNvPr>
          <p:cNvSpPr/>
          <p:nvPr/>
        </p:nvSpPr>
        <p:spPr>
          <a:xfrm>
            <a:off x="794" y="447"/>
            <a:ext cx="4870436" cy="6857107"/>
          </a:xfrm>
          <a:prstGeom prst="rect">
            <a:avLst/>
          </a:prstGeom>
          <a:solidFill>
            <a:srgbClr val="01793A">
              <a:alpha val="9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A8316D6-94E8-BBDE-5680-3039981A3329}"/>
              </a:ext>
            </a:extLst>
          </p:cNvPr>
          <p:cNvSpPr/>
          <p:nvPr/>
        </p:nvSpPr>
        <p:spPr>
          <a:xfrm>
            <a:off x="381012" y="1495076"/>
            <a:ext cx="4182752" cy="4792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D89BAA-6E13-D5D6-2AB0-7F8BF24B10E0}"/>
              </a:ext>
            </a:extLst>
          </p:cNvPr>
          <p:cNvSpPr/>
          <p:nvPr/>
        </p:nvSpPr>
        <p:spPr>
          <a:xfrm>
            <a:off x="381013" y="953986"/>
            <a:ext cx="3061673" cy="4792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F2FDE50-93C2-E197-FA4B-30969CC4378E}"/>
              </a:ext>
            </a:extLst>
          </p:cNvPr>
          <p:cNvSpPr/>
          <p:nvPr/>
        </p:nvSpPr>
        <p:spPr>
          <a:xfrm>
            <a:off x="384026" y="399835"/>
            <a:ext cx="3061673" cy="4792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AC53042E-C403-C716-A52A-9752A69BD13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1770" y="352839"/>
            <a:ext cx="4551512" cy="175275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309" rtl="0" eaLnBrk="1" fontAlgn="auto" latinLnBrk="0" hangingPunct="1">
              <a:lnSpc>
                <a:spcPts val="42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Axalion</a:t>
            </a:r>
            <a:r>
              <a:rPr kumimoji="0" lang="it-IT" sz="28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®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inibisce </a:t>
            </a:r>
            <a:b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le funzioni basali </a:t>
            </a:r>
            <a:b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dell’organo cordotona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687FFB1-A08F-E098-129B-2F9BF13583FC}"/>
              </a:ext>
            </a:extLst>
          </p:cNvPr>
          <p:cNvSpPr txBox="1"/>
          <p:nvPr/>
        </p:nvSpPr>
        <p:spPr>
          <a:xfrm>
            <a:off x="476533" y="2301310"/>
            <a:ext cx="3655885" cy="32110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Gli organi cordotonali sono piccoli organi sensoriali presenti solo negli insetti e nei crostacei. </a:t>
            </a:r>
          </a:p>
          <a:p>
            <a:pPr marL="0" marR="0" lvl="0" indent="0" algn="l" defTabSz="914309" rtl="0" eaLnBrk="1" fontAlgn="auto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Gli organi cordotonali forniscono agli insetti i sensi dell'udito, dell'orientamento e dell'equilibrio e sono fondamentali per il movimento coordinato e la sopravvivenza. L'inibizione della funzione di questi organi fa sì che gli insetti diventino scoordinati, incapaci di nutrirsi e/o di trasmettere virus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92DB5E-E945-B572-A432-B9079EEF73BD}"/>
              </a:ext>
            </a:extLst>
          </p:cNvPr>
          <p:cNvSpPr/>
          <p:nvPr/>
        </p:nvSpPr>
        <p:spPr>
          <a:xfrm>
            <a:off x="10244862" y="14046"/>
            <a:ext cx="1944756" cy="8313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158846-1ACD-C6A0-A143-DDAA12C4A7F7}"/>
              </a:ext>
            </a:extLst>
          </p:cNvPr>
          <p:cNvSpPr/>
          <p:nvPr/>
        </p:nvSpPr>
        <p:spPr>
          <a:xfrm>
            <a:off x="6791726" y="2318056"/>
            <a:ext cx="4824776" cy="365712"/>
          </a:xfrm>
          <a:prstGeom prst="rect">
            <a:avLst/>
          </a:prstGeom>
          <a:solidFill>
            <a:srgbClr val="0179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5999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GIUNTURE DELLE ZAMPE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17A5FC-3080-B4CC-8090-F15DBF7532FD}"/>
              </a:ext>
            </a:extLst>
          </p:cNvPr>
          <p:cNvSpPr/>
          <p:nvPr/>
        </p:nvSpPr>
        <p:spPr>
          <a:xfrm>
            <a:off x="6775542" y="4254072"/>
            <a:ext cx="4846408" cy="365712"/>
          </a:xfrm>
          <a:prstGeom prst="rect">
            <a:avLst/>
          </a:prstGeom>
          <a:solidFill>
            <a:srgbClr val="0179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5999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INSERZIONI DELLE ALI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CAB16A8-BC1B-76F5-4A80-2562091D1077}"/>
              </a:ext>
            </a:extLst>
          </p:cNvPr>
          <p:cNvSpPr/>
          <p:nvPr/>
        </p:nvSpPr>
        <p:spPr>
          <a:xfrm>
            <a:off x="6791726" y="367865"/>
            <a:ext cx="4824776" cy="365712"/>
          </a:xfrm>
          <a:prstGeom prst="rect">
            <a:avLst/>
          </a:prstGeom>
          <a:solidFill>
            <a:srgbClr val="0179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5999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NTENNE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C2DB18-B5C5-6854-4173-54AB20077415}"/>
              </a:ext>
            </a:extLst>
          </p:cNvPr>
          <p:cNvSpPr/>
          <p:nvPr/>
        </p:nvSpPr>
        <p:spPr>
          <a:xfrm flipV="1">
            <a:off x="5271098" y="6662379"/>
            <a:ext cx="3212986" cy="1327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51F8A8-5BA4-82FD-48B9-C164853D09C3}"/>
              </a:ext>
            </a:extLst>
          </p:cNvPr>
          <p:cNvSpPr txBox="1"/>
          <p:nvPr/>
        </p:nvSpPr>
        <p:spPr>
          <a:xfrm>
            <a:off x="7007895" y="801117"/>
            <a:ext cx="4460373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Funzione: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 </a:t>
            </a:r>
            <a:b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Rilevamento del suono, della gravità e del vento</a:t>
            </a:r>
            <a:b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b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etto di Axalion</a:t>
            </a:r>
            <a:r>
              <a:rPr kumimoji="0" lang="it-IT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®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: </a:t>
            </a:r>
            <a:b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L'insetto perde la capacità di arrampicarsi, di percepire il vento e i richiami di corteggiamento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E981D8F-599B-3EA5-DD46-054BD65C5B1C}"/>
              </a:ext>
            </a:extLst>
          </p:cNvPr>
          <p:cNvSpPr txBox="1"/>
          <p:nvPr/>
        </p:nvSpPr>
        <p:spPr>
          <a:xfrm>
            <a:off x="7015987" y="4756819"/>
            <a:ext cx="422630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Funzione: </a:t>
            </a:r>
            <a:b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Percepisce la vibrazione delle ali</a:t>
            </a:r>
            <a:b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etto di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Axalion</a:t>
            </a:r>
            <a:r>
              <a:rPr kumimoji="0" lang="it-IT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®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: </a:t>
            </a:r>
            <a:b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L’insetto perde la capacità di volare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EC31A14-0C56-71B8-B8A4-370797CDE0A8}"/>
              </a:ext>
            </a:extLst>
          </p:cNvPr>
          <p:cNvCxnSpPr>
            <a:cxnSpLocks/>
          </p:cNvCxnSpPr>
          <p:nvPr/>
        </p:nvCxnSpPr>
        <p:spPr>
          <a:xfrm>
            <a:off x="7011765" y="1341423"/>
            <a:ext cx="530283" cy="0"/>
          </a:xfrm>
          <a:prstGeom prst="line">
            <a:avLst/>
          </a:prstGeom>
          <a:ln w="38100">
            <a:solidFill>
              <a:srgbClr val="67AC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438A1EF-26D7-0756-D9D1-6D8059FDD6E1}"/>
              </a:ext>
            </a:extLst>
          </p:cNvPr>
          <p:cNvCxnSpPr>
            <a:cxnSpLocks/>
          </p:cNvCxnSpPr>
          <p:nvPr/>
        </p:nvCxnSpPr>
        <p:spPr>
          <a:xfrm>
            <a:off x="7015987" y="3492052"/>
            <a:ext cx="530283" cy="0"/>
          </a:xfrm>
          <a:prstGeom prst="line">
            <a:avLst/>
          </a:prstGeom>
          <a:ln w="38100">
            <a:solidFill>
              <a:srgbClr val="67AC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567206F-C833-33BA-6DB2-6DFAE44E511D}"/>
              </a:ext>
            </a:extLst>
          </p:cNvPr>
          <p:cNvCxnSpPr>
            <a:cxnSpLocks/>
          </p:cNvCxnSpPr>
          <p:nvPr/>
        </p:nvCxnSpPr>
        <p:spPr>
          <a:xfrm>
            <a:off x="7015987" y="5305697"/>
            <a:ext cx="526099" cy="0"/>
          </a:xfrm>
          <a:prstGeom prst="line">
            <a:avLst/>
          </a:prstGeom>
          <a:ln w="38100">
            <a:solidFill>
              <a:srgbClr val="67AC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7FC67747-6614-F88D-84A3-B087102AE72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295" r="22695"/>
          <a:stretch/>
        </p:blipFill>
        <p:spPr>
          <a:xfrm>
            <a:off x="5162911" y="191039"/>
            <a:ext cx="1628815" cy="202401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1AD0FF9-0233-A440-B4A7-23558B2069C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790" t="10595" r="24895"/>
          <a:stretch/>
        </p:blipFill>
        <p:spPr>
          <a:xfrm>
            <a:off x="5155767" y="2318056"/>
            <a:ext cx="1637999" cy="184649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CDFF764-2F61-CAC8-57FA-EE5F2B66B3A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191" t="7596" r="21180"/>
          <a:stretch/>
        </p:blipFill>
        <p:spPr>
          <a:xfrm>
            <a:off x="5152310" y="4229047"/>
            <a:ext cx="1628816" cy="1846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72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35E2AD-1299-281D-49DA-A36F727813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ttangolo 26">
            <a:extLst>
              <a:ext uri="{FF2B5EF4-FFF2-40B4-BE49-F238E27FC236}">
                <a16:creationId xmlns:a16="http://schemas.microsoft.com/office/drawing/2014/main" id="{A1D31294-1672-6E2E-81ED-33314B097649}"/>
              </a:ext>
            </a:extLst>
          </p:cNvPr>
          <p:cNvSpPr/>
          <p:nvPr/>
        </p:nvSpPr>
        <p:spPr>
          <a:xfrm>
            <a:off x="-44450" y="4552950"/>
            <a:ext cx="7035556" cy="1562080"/>
          </a:xfrm>
          <a:prstGeom prst="rect">
            <a:avLst/>
          </a:prstGeom>
          <a:solidFill>
            <a:srgbClr val="E9F3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22" name="Rectangle 7">
            <a:extLst>
              <a:ext uri="{FF2B5EF4-FFF2-40B4-BE49-F238E27FC236}">
                <a16:creationId xmlns:a16="http://schemas.microsoft.com/office/drawing/2014/main" id="{BA2583DB-2DB8-76FB-92E4-DE598169C1A3}"/>
              </a:ext>
            </a:extLst>
          </p:cNvPr>
          <p:cNvSpPr/>
          <p:nvPr/>
        </p:nvSpPr>
        <p:spPr>
          <a:xfrm>
            <a:off x="6995306" y="6020474"/>
            <a:ext cx="5190906" cy="837526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45178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23" name="Rectangle 7">
            <a:extLst>
              <a:ext uri="{FF2B5EF4-FFF2-40B4-BE49-F238E27FC236}">
                <a16:creationId xmlns:a16="http://schemas.microsoft.com/office/drawing/2014/main" id="{EF0DAB82-BA2C-5020-9676-3C5923189CF3}"/>
              </a:ext>
            </a:extLst>
          </p:cNvPr>
          <p:cNvSpPr/>
          <p:nvPr/>
        </p:nvSpPr>
        <p:spPr>
          <a:xfrm rot="10800000">
            <a:off x="6995306" y="0"/>
            <a:ext cx="5190906" cy="67973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45178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4EC6FFFB-8A31-2A2D-9B0B-97A866C41C55}"/>
              </a:ext>
            </a:extLst>
          </p:cNvPr>
          <p:cNvSpPr/>
          <p:nvPr/>
        </p:nvSpPr>
        <p:spPr>
          <a:xfrm>
            <a:off x="11167051" y="282372"/>
            <a:ext cx="761054" cy="246265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5" name="MSIPCMContentMarking" descr="{&quot;HashCode&quot;:-1833516921,&quot;Placement&quot;:&quot;Piè di pagina&quot;,&quot;Top&quot;:520.3781,&quot;Left&quot;:442.536072,&quot;SlideWidth&quot;:960,&quot;SlideHeight&quot;:540}">
            <a:extLst>
              <a:ext uri="{FF2B5EF4-FFF2-40B4-BE49-F238E27FC236}">
                <a16:creationId xmlns:a16="http://schemas.microsoft.com/office/drawing/2014/main" id="{B64EE452-D547-769E-04B0-5174C891EFB8}"/>
              </a:ext>
            </a:extLst>
          </p:cNvPr>
          <p:cNvSpPr txBox="1"/>
          <p:nvPr/>
        </p:nvSpPr>
        <p:spPr>
          <a:xfrm>
            <a:off x="11117914" y="355316"/>
            <a:ext cx="900100" cy="10002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25000"/>
              </a:prstClr>
            </a:outerShdw>
          </a:effectLst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65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POMACEE</a:t>
            </a:r>
          </a:p>
        </p:txBody>
      </p:sp>
      <p:grpSp>
        <p:nvGrpSpPr>
          <p:cNvPr id="17" name="Group 2">
            <a:extLst>
              <a:ext uri="{FF2B5EF4-FFF2-40B4-BE49-F238E27FC236}">
                <a16:creationId xmlns:a16="http://schemas.microsoft.com/office/drawing/2014/main" id="{3D39620C-D531-757B-8C8F-B3C4FF4CF3CC}"/>
              </a:ext>
            </a:extLst>
          </p:cNvPr>
          <p:cNvGrpSpPr/>
          <p:nvPr/>
        </p:nvGrpSpPr>
        <p:grpSpPr>
          <a:xfrm>
            <a:off x="9600843" y="6098537"/>
            <a:ext cx="2592803" cy="540002"/>
            <a:chOff x="9596807" y="6092573"/>
            <a:chExt cx="2592803" cy="540002"/>
          </a:xfrm>
        </p:grpSpPr>
        <p:sp>
          <p:nvSpPr>
            <p:cNvPr id="18" name="Rechteck 9">
              <a:extLst>
                <a:ext uri="{FF2B5EF4-FFF2-40B4-BE49-F238E27FC236}">
                  <a16:creationId xmlns:a16="http://schemas.microsoft.com/office/drawing/2014/main" id="{49EF275A-E74B-8B8B-9BC8-48FAEDD51AC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9" name="Grafik 11">
              <a:extLst>
                <a:ext uri="{FF2B5EF4-FFF2-40B4-BE49-F238E27FC236}">
                  <a16:creationId xmlns:a16="http://schemas.microsoft.com/office/drawing/2014/main" id="{610E91C6-7424-1B44-7828-192D0ED238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9596807" y="6092573"/>
              <a:ext cx="1085092" cy="539999"/>
            </a:xfrm>
            <a:prstGeom prst="rect">
              <a:avLst/>
            </a:prstGeom>
          </p:spPr>
        </p:pic>
      </p:grpSp>
      <p:sp>
        <p:nvSpPr>
          <p:cNvPr id="3" name="TextBox 19">
            <a:extLst>
              <a:ext uri="{FF2B5EF4-FFF2-40B4-BE49-F238E27FC236}">
                <a16:creationId xmlns:a16="http://schemas.microsoft.com/office/drawing/2014/main" id="{A806600A-13E0-5837-9FAC-FA9663A0B65D}"/>
              </a:ext>
            </a:extLst>
          </p:cNvPr>
          <p:cNvSpPr txBox="1"/>
          <p:nvPr/>
        </p:nvSpPr>
        <p:spPr>
          <a:xfrm>
            <a:off x="590309" y="4697123"/>
            <a:ext cx="567333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AC1E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Formulazione a base acquosa, selettiva e facile da miscelare con altri prodotti (prove specifiche condotte in Itali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AC1E"/>
              </a:buClr>
              <a:buSzTx/>
              <a:buFontTx/>
              <a:buNone/>
              <a:tabLst/>
              <a:defRPr/>
            </a:pPr>
            <a:endParaRPr kumimoji="0" lang="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AC1E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Le proprietà della formulazione e del principio attivo </a:t>
            </a:r>
            <a:r>
              <a:rPr kumimoji="0" lang="it-IT" sz="14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non richiedono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, nella maggior parte dei casi, l'uso aggiuntivo di bagnanti / coadiuvanti</a:t>
            </a:r>
            <a:endParaRPr kumimoji="0" lang="it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E967A942-53D1-7AC9-88AB-D16EBADA1A86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2400" y="392073"/>
            <a:ext cx="5353080" cy="37198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3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La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formulazione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di Efficon</a:t>
            </a:r>
            <a:r>
              <a:rPr kumimoji="0" lang="de-DE" sz="2800" b="1" i="0" u="none" strike="noStrike" kern="1200" cap="none" spc="0" normalizeH="0" baseline="3000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®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0" marR="0" lvl="0" indent="0" algn="l" defTabSz="9143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1793A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3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1" i="0" u="none" strike="noStrike" kern="1200" cap="none" spc="0" normalizeH="0" baseline="0" noProof="0" dirty="0" err="1">
              <a:ln>
                <a:noFill/>
              </a:ln>
              <a:solidFill>
                <a:srgbClr val="01793A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12" name="Straight Connector 10">
            <a:extLst>
              <a:ext uri="{FF2B5EF4-FFF2-40B4-BE49-F238E27FC236}">
                <a16:creationId xmlns:a16="http://schemas.microsoft.com/office/drawing/2014/main" id="{3DD74ECA-03DB-C1F2-4C90-956F19081CCB}"/>
              </a:ext>
            </a:extLst>
          </p:cNvPr>
          <p:cNvCxnSpPr>
            <a:cxnSpLocks/>
          </p:cNvCxnSpPr>
          <p:nvPr/>
        </p:nvCxnSpPr>
        <p:spPr>
          <a:xfrm flipH="1">
            <a:off x="392400" y="1004268"/>
            <a:ext cx="1049242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Diagramma 15">
            <a:extLst>
              <a:ext uri="{FF2B5EF4-FFF2-40B4-BE49-F238E27FC236}">
                <a16:creationId xmlns:a16="http://schemas.microsoft.com/office/drawing/2014/main" id="{D5C0B223-990D-D9E8-3F2F-DDCC15F7E557}"/>
              </a:ext>
            </a:extLst>
          </p:cNvPr>
          <p:cNvGraphicFramePr/>
          <p:nvPr/>
        </p:nvGraphicFramePr>
        <p:xfrm>
          <a:off x="392400" y="1278467"/>
          <a:ext cx="5876319" cy="29887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" name="Rettangolo 1">
            <a:extLst>
              <a:ext uri="{FF2B5EF4-FFF2-40B4-BE49-F238E27FC236}">
                <a16:creationId xmlns:a16="http://schemas.microsoft.com/office/drawing/2014/main" id="{2563F901-68E1-BA71-A5C4-BA2B41640BB0}"/>
              </a:ext>
            </a:extLst>
          </p:cNvPr>
          <p:cNvSpPr/>
          <p:nvPr/>
        </p:nvSpPr>
        <p:spPr>
          <a:xfrm>
            <a:off x="-9725" y="1303421"/>
            <a:ext cx="7035556" cy="2402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Nome commerciale*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79241BD0-72B1-7CE8-9A61-99315B3174CC}"/>
              </a:ext>
            </a:extLst>
          </p:cNvPr>
          <p:cNvSpPr/>
          <p:nvPr/>
        </p:nvSpPr>
        <p:spPr>
          <a:xfrm>
            <a:off x="-9725" y="2106139"/>
            <a:ext cx="7035556" cy="2402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Principio attivo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2B980D57-898A-98A4-7CE8-3AC21C9B01F2}"/>
              </a:ext>
            </a:extLst>
          </p:cNvPr>
          <p:cNvSpPr/>
          <p:nvPr/>
        </p:nvSpPr>
        <p:spPr>
          <a:xfrm>
            <a:off x="-9725" y="2908857"/>
            <a:ext cx="7035556" cy="2402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Formulato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41FDDC57-E61A-3646-D4F5-DE49F4E97A0A}"/>
              </a:ext>
            </a:extLst>
          </p:cNvPr>
          <p:cNvSpPr/>
          <p:nvPr/>
        </p:nvSpPr>
        <p:spPr>
          <a:xfrm>
            <a:off x="-9725" y="3711576"/>
            <a:ext cx="7035556" cy="2402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t>Concentrazion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F7AE61-FDFF-8003-64AB-0EA7B3202109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5306" y="0"/>
            <a:ext cx="5195106" cy="6858000"/>
          </a:xfrm>
          <a:prstGeom prst="rect">
            <a:avLst/>
          </a:prstGeom>
        </p:spPr>
      </p:pic>
      <p:sp>
        <p:nvSpPr>
          <p:cNvPr id="5" name="Rectangle 20">
            <a:extLst>
              <a:ext uri="{FF2B5EF4-FFF2-40B4-BE49-F238E27FC236}">
                <a16:creationId xmlns:a16="http://schemas.microsoft.com/office/drawing/2014/main" id="{5E19A0B5-9BC8-A971-1DD9-16D758F13970}"/>
              </a:ext>
            </a:extLst>
          </p:cNvPr>
          <p:cNvSpPr/>
          <p:nvPr/>
        </p:nvSpPr>
        <p:spPr>
          <a:xfrm flipV="1">
            <a:off x="5271097" y="6662377"/>
            <a:ext cx="1562839" cy="195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4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026093-B1FB-880A-ACA9-751CEAC7B0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5434CB2-2B03-4BA1-51BD-DF560041F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06" imgH="306" progId="TCLayout.ActiveDocument.1">
                  <p:embed/>
                </p:oleObj>
              </mc:Choice>
              <mc:Fallback>
                <p:oleObj name="Diapositiva think-cell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434CB2-2B03-4BA1-51BD-DF560041F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olo 2">
            <a:extLst>
              <a:ext uri="{FF2B5EF4-FFF2-40B4-BE49-F238E27FC236}">
                <a16:creationId xmlns:a16="http://schemas.microsoft.com/office/drawing/2014/main" id="{BC4EBDD5-CEE5-BC5B-988C-A25FB682077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385763"/>
            <a:ext cx="8761404" cy="1143000"/>
          </a:xfrm>
        </p:spPr>
        <p:txBody>
          <a:bodyPr anchor="t"/>
          <a:lstStyle/>
          <a:p>
            <a:r>
              <a:rPr lang="de-DE" dirty="0">
                <a:solidFill>
                  <a:srgbClr val="01793A"/>
                </a:solidFill>
                <a:cs typeface="Arial"/>
              </a:rPr>
              <a:t>Efficon</a:t>
            </a:r>
            <a:r>
              <a:rPr lang="de-DE" baseline="30000" dirty="0">
                <a:solidFill>
                  <a:srgbClr val="01793A"/>
                </a:solidFill>
                <a:cs typeface="Arial"/>
              </a:rPr>
              <a:t>®</a:t>
            </a:r>
            <a:r>
              <a:rPr lang="de-DE" dirty="0">
                <a:solidFill>
                  <a:srgbClr val="01793A"/>
                </a:solidFill>
                <a:cs typeface="Arial"/>
              </a:rPr>
              <a:t> 2026:</a:t>
            </a:r>
            <a:br>
              <a:rPr lang="de-DE" b="0" dirty="0">
                <a:solidFill>
                  <a:srgbClr val="01793A"/>
                </a:solidFill>
                <a:cs typeface="Arial"/>
              </a:rPr>
            </a:br>
            <a:r>
              <a:rPr lang="de-DE" sz="2800" b="0" dirty="0" err="1">
                <a:solidFill>
                  <a:srgbClr val="01793A"/>
                </a:solidFill>
                <a:cs typeface="Arial"/>
              </a:rPr>
              <a:t>Autorizzazion</a:t>
            </a:r>
            <a:r>
              <a:rPr lang="de-DE" b="0" dirty="0" err="1">
                <a:solidFill>
                  <a:srgbClr val="01793A"/>
                </a:solidFill>
                <a:cs typeface="Arial"/>
              </a:rPr>
              <a:t>e</a:t>
            </a:r>
            <a:r>
              <a:rPr lang="de-DE" sz="2800" b="0" dirty="0">
                <a:solidFill>
                  <a:srgbClr val="01793A"/>
                </a:solidFill>
                <a:cs typeface="Arial"/>
              </a:rPr>
              <a:t> </a:t>
            </a:r>
            <a:r>
              <a:rPr lang="de-DE" sz="2800" b="0" dirty="0" err="1">
                <a:solidFill>
                  <a:srgbClr val="01793A"/>
                </a:solidFill>
                <a:cs typeface="Arial"/>
              </a:rPr>
              <a:t>emergenziale</a:t>
            </a:r>
            <a:endParaRPr lang="it-IT" sz="2800" b="0" dirty="0"/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0F69461C-A8E0-05FF-52E7-4987150380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812228"/>
              </p:ext>
            </p:extLst>
          </p:nvPr>
        </p:nvGraphicFramePr>
        <p:xfrm>
          <a:off x="533400" y="1524001"/>
          <a:ext cx="8761404" cy="44313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0702">
                  <a:extLst>
                    <a:ext uri="{9D8B030D-6E8A-4147-A177-3AD203B41FA5}">
                      <a16:colId xmlns:a16="http://schemas.microsoft.com/office/drawing/2014/main" val="2446700713"/>
                    </a:ext>
                  </a:extLst>
                </a:gridCol>
                <a:gridCol w="4380702">
                  <a:extLst>
                    <a:ext uri="{9D8B030D-6E8A-4147-A177-3AD203B41FA5}">
                      <a16:colId xmlns:a16="http://schemas.microsoft.com/office/drawing/2014/main" val="941497320"/>
                    </a:ext>
                  </a:extLst>
                </a:gridCol>
              </a:tblGrid>
              <a:tr h="414548">
                <a:tc>
                  <a:txBody>
                    <a:bodyPr/>
                    <a:lstStyle/>
                    <a:p>
                      <a:pPr algn="ctr"/>
                      <a:r>
                        <a:rPr lang="it-IT" sz="1800" i="1" dirty="0"/>
                        <a:t>Coltura</a:t>
                      </a:r>
                    </a:p>
                  </a:txBody>
                  <a:tcPr marL="91416" marR="91416" marT="45708" marB="457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i="1" dirty="0"/>
                        <a:t>Target</a:t>
                      </a:r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2552576736"/>
                  </a:ext>
                </a:extLst>
              </a:tr>
              <a:tr h="641464">
                <a:tc>
                  <a:txBody>
                    <a:bodyPr/>
                    <a:lstStyle/>
                    <a:p>
                      <a:pPr algn="ctr"/>
                      <a:r>
                        <a:rPr lang="it-IT" sz="1800" b="1" dirty="0"/>
                        <a:t>Melo</a:t>
                      </a:r>
                    </a:p>
                  </a:txBody>
                  <a:tcPr marL="91428" marR="91428" marT="45714" marB="4571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i="1" dirty="0" err="1"/>
                        <a:t>Dysaphis</a:t>
                      </a:r>
                      <a:endParaRPr lang="it-IT" sz="1800" i="1" dirty="0"/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973207646"/>
                  </a:ext>
                </a:extLst>
              </a:tr>
              <a:tr h="641464">
                <a:tc>
                  <a:txBody>
                    <a:bodyPr/>
                    <a:lstStyle/>
                    <a:p>
                      <a:pPr algn="ctr"/>
                      <a:r>
                        <a:rPr lang="it-IT" sz="1800" b="1" dirty="0"/>
                        <a:t>Pero</a:t>
                      </a:r>
                    </a:p>
                  </a:txBody>
                  <a:tcPr marL="91428" marR="91428" marT="45714" marB="4571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i="1" dirty="0" err="1"/>
                        <a:t>Psylla</a:t>
                      </a:r>
                      <a:endParaRPr lang="it-IT" sz="1800" i="1" dirty="0"/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3769096520"/>
                  </a:ext>
                </a:extLst>
              </a:tr>
              <a:tr h="641464">
                <a:tc>
                  <a:txBody>
                    <a:bodyPr/>
                    <a:lstStyle/>
                    <a:p>
                      <a:pPr marL="0" algn="ctr" defTabSz="914309" rtl="0" eaLnBrk="1" latinLnBrk="0" hangingPunct="1"/>
                      <a:r>
                        <a:rPr lang="it-IT" sz="1800" b="1" kern="1200" dirty="0">
                          <a:solidFill>
                            <a:schemeClr val="dk1"/>
                          </a:solidFill>
                        </a:rPr>
                        <a:t>Vite</a:t>
                      </a:r>
                      <a:endParaRPr lang="it-IT" sz="1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/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/>
                      <a:r>
                        <a:rPr lang="it-IT" sz="1800" i="1" kern="1200" dirty="0" err="1">
                          <a:solidFill>
                            <a:schemeClr val="dk1"/>
                          </a:solidFill>
                        </a:rPr>
                        <a:t>Planococcus</a:t>
                      </a:r>
                      <a:r>
                        <a:rPr lang="it-IT" sz="1800" i="1" kern="1200" dirty="0">
                          <a:solidFill>
                            <a:schemeClr val="dk1"/>
                          </a:solidFill>
                        </a:rPr>
                        <a:t> ficus</a:t>
                      </a:r>
                      <a:endParaRPr lang="it-IT" sz="18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2920907762"/>
                  </a:ext>
                </a:extLst>
              </a:tr>
              <a:tr h="641464">
                <a:tc>
                  <a:txBody>
                    <a:bodyPr/>
                    <a:lstStyle/>
                    <a:p>
                      <a:pPr marL="0" algn="ctr" defTabSz="914309" rtl="0" eaLnBrk="1" latinLnBrk="0" hangingPunct="1"/>
                      <a:r>
                        <a:rPr lang="it-IT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sco, nettarine</a:t>
                      </a:r>
                    </a:p>
                  </a:txBody>
                  <a:tcPr marL="91428" marR="91428" marT="45714" marB="45714" anchor="ctr"/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/>
                      <a:r>
                        <a:rPr lang="it-IT" sz="1800" i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yzus</a:t>
                      </a:r>
                      <a:r>
                        <a:rPr lang="it-IT" sz="18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800" i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sicae</a:t>
                      </a:r>
                      <a:endParaRPr lang="it-IT" sz="18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627455584"/>
                  </a:ext>
                </a:extLst>
              </a:tr>
              <a:tr h="725480">
                <a:tc>
                  <a:txBody>
                    <a:bodyPr/>
                    <a:lstStyle/>
                    <a:p>
                      <a:pPr marL="0" algn="ctr" defTabSz="914309" rtl="0" eaLnBrk="1" latinLnBrk="0" hangingPunct="1"/>
                      <a:r>
                        <a:rPr lang="it-IT" sz="1800" b="1" kern="1200" dirty="0">
                          <a:solidFill>
                            <a:schemeClr val="dk1"/>
                          </a:solidFill>
                        </a:rPr>
                        <a:t>Melone </a:t>
                      </a:r>
                      <a:r>
                        <a:rPr lang="it-IT" sz="1800" b="0" kern="1200" dirty="0">
                          <a:solidFill>
                            <a:schemeClr val="dk1"/>
                          </a:solidFill>
                        </a:rPr>
                        <a:t>(pieno campo)</a:t>
                      </a:r>
                    </a:p>
                    <a:p>
                      <a:pPr marL="0" marR="0" lvl="0" indent="0" algn="ctr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>
                          <a:solidFill>
                            <a:schemeClr val="dk1"/>
                          </a:solidFill>
                        </a:rPr>
                        <a:t>Cocomero </a:t>
                      </a:r>
                      <a:r>
                        <a:rPr lang="it-IT" sz="1800" b="0" kern="1200" dirty="0">
                          <a:solidFill>
                            <a:schemeClr val="dk1"/>
                          </a:solidFill>
                        </a:rPr>
                        <a:t>(pieno campo)</a:t>
                      </a:r>
                      <a:endParaRPr lang="it-IT" sz="1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solidFill>
                      <a:srgbClr val="D3E3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yzus</a:t>
                      </a:r>
                      <a:r>
                        <a:rPr lang="en-GB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sicae</a:t>
                      </a:r>
                      <a:endParaRPr lang="it-IT" sz="18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GB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his gossypii</a:t>
                      </a:r>
                      <a:endParaRPr lang="it-IT" sz="12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solidFill>
                      <a:srgbClr val="D3E3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889685"/>
                  </a:ext>
                </a:extLst>
              </a:tr>
              <a:tr h="725480"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Zucchino </a:t>
                      </a:r>
                      <a:r>
                        <a:rPr lang="it-IT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(serra)</a:t>
                      </a:r>
                      <a:endParaRPr lang="it-IT" sz="1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solidFill>
                      <a:srgbClr val="EAF1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yzus</a:t>
                      </a:r>
                      <a:r>
                        <a:rPr lang="en-GB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sicae</a:t>
                      </a:r>
                      <a:endParaRPr lang="it-IT" sz="18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GB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his gossypii</a:t>
                      </a:r>
                      <a:endParaRPr lang="it-IT" sz="12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solidFill>
                      <a:srgbClr val="EAF1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4639848"/>
                  </a:ext>
                </a:extLst>
              </a:tr>
            </a:tbl>
          </a:graphicData>
        </a:graphic>
      </p:graphicFrame>
      <p:sp>
        <p:nvSpPr>
          <p:cNvPr id="5" name="CasellaDiTesto 4">
            <a:extLst>
              <a:ext uri="{FF2B5EF4-FFF2-40B4-BE49-F238E27FC236}">
                <a16:creationId xmlns:a16="http://schemas.microsoft.com/office/drawing/2014/main" id="{69E9FCFE-F511-4A81-C49D-4860C039FD8C}"/>
              </a:ext>
            </a:extLst>
          </p:cNvPr>
          <p:cNvSpPr txBox="1"/>
          <p:nvPr/>
        </p:nvSpPr>
        <p:spPr>
          <a:xfrm>
            <a:off x="9510077" y="4482799"/>
            <a:ext cx="2685591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Autorizzazione da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01.03.2026 al 28.06.2026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ai sensi dell’articolo 53 del Regolamento (CE) </a:t>
            </a:r>
            <a:b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n. 1107/’07 (emergenza fitosanitaria)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0D75538-EE81-98A8-6F0D-365E7CB46F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13" t="-2670" r="21946" b="2670"/>
          <a:stretch>
            <a:fillRect/>
          </a:stretch>
        </p:blipFill>
        <p:spPr bwMode="auto">
          <a:xfrm>
            <a:off x="9406565" y="1116582"/>
            <a:ext cx="2685592" cy="352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2F8B965B-2AA1-3E53-2986-A1A313FE07C0}"/>
              </a:ext>
            </a:extLst>
          </p:cNvPr>
          <p:cNvSpPr txBox="1"/>
          <p:nvPr/>
        </p:nvSpPr>
        <p:spPr>
          <a:xfrm>
            <a:off x="533400" y="5971049"/>
            <a:ext cx="876140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rgbClr val="000000"/>
                </a:solidFill>
                <a:latin typeface="Arial" panose="020B0604020202020204"/>
                <a:cs typeface="Arial"/>
              </a:rPr>
              <a:t>Per dosi e modalità di impiego, fare riferimento all’etichetta autorizzata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8465A92D-D635-30B1-9514-EEFCA9C443AB}"/>
              </a:ext>
            </a:extLst>
          </p:cNvPr>
          <p:cNvSpPr/>
          <p:nvPr/>
        </p:nvSpPr>
        <p:spPr>
          <a:xfrm flipV="1">
            <a:off x="5271097" y="6662377"/>
            <a:ext cx="1562839" cy="195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140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2AD6AF-0CE8-15D7-1558-1E4B765404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0328B97-C366-7090-9744-A3E695598A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06" imgH="306" progId="TCLayout.ActiveDocument.1">
                  <p:embed/>
                </p:oleObj>
              </mc:Choice>
              <mc:Fallback>
                <p:oleObj name="Diapositiva think-cell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328B97-C366-7090-9744-A3E695598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olo 2">
            <a:extLst>
              <a:ext uri="{FF2B5EF4-FFF2-40B4-BE49-F238E27FC236}">
                <a16:creationId xmlns:a16="http://schemas.microsoft.com/office/drawing/2014/main" id="{6470981A-21BD-BDDD-EFCD-DDA512AEA1A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385763"/>
            <a:ext cx="8761404" cy="1143000"/>
          </a:xfrm>
        </p:spPr>
        <p:txBody>
          <a:bodyPr anchor="t"/>
          <a:lstStyle/>
          <a:p>
            <a:r>
              <a:rPr lang="de-DE" dirty="0">
                <a:solidFill>
                  <a:srgbClr val="01793A"/>
                </a:solidFill>
                <a:cs typeface="Arial"/>
              </a:rPr>
              <a:t>Efficon</a:t>
            </a:r>
            <a:r>
              <a:rPr lang="de-DE" baseline="30000" dirty="0">
                <a:solidFill>
                  <a:srgbClr val="01793A"/>
                </a:solidFill>
                <a:cs typeface="Arial"/>
              </a:rPr>
              <a:t>®</a:t>
            </a:r>
            <a:r>
              <a:rPr lang="de-DE" dirty="0">
                <a:solidFill>
                  <a:srgbClr val="01793A"/>
                </a:solidFill>
                <a:cs typeface="Arial"/>
              </a:rPr>
              <a:t> Orange:</a:t>
            </a:r>
            <a:br>
              <a:rPr lang="de-DE" b="0" dirty="0">
                <a:solidFill>
                  <a:srgbClr val="01793A"/>
                </a:solidFill>
                <a:cs typeface="Arial"/>
              </a:rPr>
            </a:br>
            <a:r>
              <a:rPr lang="de-DE" sz="2800" b="0" dirty="0" err="1">
                <a:solidFill>
                  <a:srgbClr val="01793A"/>
                </a:solidFill>
                <a:cs typeface="Arial"/>
              </a:rPr>
              <a:t>Autorizzazion</a:t>
            </a:r>
            <a:r>
              <a:rPr lang="de-DE" b="0" dirty="0" err="1">
                <a:solidFill>
                  <a:srgbClr val="01793A"/>
                </a:solidFill>
                <a:cs typeface="Arial"/>
              </a:rPr>
              <a:t>e</a:t>
            </a:r>
            <a:r>
              <a:rPr lang="de-DE" sz="2800" b="0" dirty="0">
                <a:solidFill>
                  <a:srgbClr val="01793A"/>
                </a:solidFill>
                <a:cs typeface="Arial"/>
              </a:rPr>
              <a:t> </a:t>
            </a:r>
            <a:r>
              <a:rPr lang="de-DE" sz="2800" b="0" dirty="0" err="1">
                <a:solidFill>
                  <a:srgbClr val="01793A"/>
                </a:solidFill>
                <a:cs typeface="Arial"/>
              </a:rPr>
              <a:t>emergenziale</a:t>
            </a:r>
            <a:endParaRPr lang="it-IT" sz="2800" b="0" dirty="0"/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0E9FB635-118A-A14E-60C5-707A72EF55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962872"/>
              </p:ext>
            </p:extLst>
          </p:nvPr>
        </p:nvGraphicFramePr>
        <p:xfrm>
          <a:off x="533400" y="1524000"/>
          <a:ext cx="8761404" cy="2128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0702">
                  <a:extLst>
                    <a:ext uri="{9D8B030D-6E8A-4147-A177-3AD203B41FA5}">
                      <a16:colId xmlns:a16="http://schemas.microsoft.com/office/drawing/2014/main" val="2446700713"/>
                    </a:ext>
                  </a:extLst>
                </a:gridCol>
                <a:gridCol w="4380702">
                  <a:extLst>
                    <a:ext uri="{9D8B030D-6E8A-4147-A177-3AD203B41FA5}">
                      <a16:colId xmlns:a16="http://schemas.microsoft.com/office/drawing/2014/main" val="941497320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algn="ctr"/>
                      <a:r>
                        <a:rPr lang="it-IT" sz="1800" i="1" dirty="0"/>
                        <a:t>Coltura</a:t>
                      </a:r>
                    </a:p>
                  </a:txBody>
                  <a:tcPr marL="91416" marR="91416" marT="45708" marB="457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i="1" dirty="0"/>
                        <a:t>Target</a:t>
                      </a:r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2552576736"/>
                  </a:ext>
                </a:extLst>
              </a:tr>
              <a:tr h="1579896">
                <a:tc>
                  <a:txBody>
                    <a:bodyPr/>
                    <a:lstStyle/>
                    <a:p>
                      <a:pPr algn="ctr"/>
                      <a:r>
                        <a:rPr lang="it-IT" sz="1800" b="1" dirty="0"/>
                        <a:t>Arancio</a:t>
                      </a:r>
                    </a:p>
                    <a:p>
                      <a:pPr algn="ctr"/>
                      <a:r>
                        <a:rPr lang="it-IT" sz="1800" b="1" dirty="0"/>
                        <a:t>Mandarino</a:t>
                      </a:r>
                    </a:p>
                    <a:p>
                      <a:pPr algn="ctr"/>
                      <a:r>
                        <a:rPr lang="it-IT" sz="1800" b="1" dirty="0"/>
                        <a:t>Clementino</a:t>
                      </a:r>
                    </a:p>
                  </a:txBody>
                  <a:tcPr marL="91428" marR="91428" marT="45714" marB="4571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i="0" dirty="0"/>
                        <a:t>Cocciniglia rossa forte </a:t>
                      </a:r>
                    </a:p>
                    <a:p>
                      <a:pPr algn="ctr"/>
                      <a:r>
                        <a:rPr lang="it-IT" sz="1800" i="1" dirty="0"/>
                        <a:t>(Aonidiella </a:t>
                      </a:r>
                      <a:r>
                        <a:rPr lang="it-IT" sz="1800" i="1" dirty="0" err="1"/>
                        <a:t>aurantii</a:t>
                      </a:r>
                      <a:r>
                        <a:rPr lang="it-IT" sz="1800" i="1" dirty="0"/>
                        <a:t>)</a:t>
                      </a:r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973207646"/>
                  </a:ext>
                </a:extLst>
              </a:tr>
            </a:tbl>
          </a:graphicData>
        </a:graphic>
      </p:graphicFrame>
      <p:sp>
        <p:nvSpPr>
          <p:cNvPr id="5" name="CasellaDiTesto 4">
            <a:extLst>
              <a:ext uri="{FF2B5EF4-FFF2-40B4-BE49-F238E27FC236}">
                <a16:creationId xmlns:a16="http://schemas.microsoft.com/office/drawing/2014/main" id="{A1FAAE05-AAE8-B8CD-8CC6-DDBAAB336DB0}"/>
              </a:ext>
            </a:extLst>
          </p:cNvPr>
          <p:cNvSpPr txBox="1"/>
          <p:nvPr/>
        </p:nvSpPr>
        <p:spPr>
          <a:xfrm>
            <a:off x="9492465" y="4319408"/>
            <a:ext cx="2610492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Autorizzazione da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5.04.2026 al 12.08.2026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ai sensi dell’articolo 53 del Regolamento (CE) </a:t>
            </a:r>
            <a:b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n. 1107/’07 (emergenza fitosanitaria)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C8E977E-6AFA-A569-FA44-95F867E45ADE}"/>
              </a:ext>
            </a:extLst>
          </p:cNvPr>
          <p:cNvSpPr txBox="1"/>
          <p:nvPr/>
        </p:nvSpPr>
        <p:spPr>
          <a:xfrm>
            <a:off x="533400" y="5971049"/>
            <a:ext cx="876140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rgbClr val="000000"/>
                </a:solidFill>
                <a:latin typeface="Arial" panose="020B0604020202020204"/>
                <a:cs typeface="Arial"/>
              </a:rPr>
              <a:t>Per dosi e modalità di impiego, fare riferimento all’etichetta autorizzata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A5F5F6C7-EB81-05CA-2C20-8B43764B39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20" b="40954"/>
          <a:stretch>
            <a:fillRect/>
          </a:stretch>
        </p:blipFill>
        <p:spPr>
          <a:xfrm>
            <a:off x="533400" y="3686400"/>
            <a:ext cx="8761404" cy="2110335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BFE0F7EA-FEF7-5C37-0184-711691DA77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0615" y="1037073"/>
            <a:ext cx="4960092" cy="3528557"/>
          </a:xfrm>
          <a:prstGeom prst="rect">
            <a:avLst/>
          </a:prstGeom>
        </p:spPr>
      </p:pic>
      <p:sp>
        <p:nvSpPr>
          <p:cNvPr id="4" name="Rectangle 20">
            <a:extLst>
              <a:ext uri="{FF2B5EF4-FFF2-40B4-BE49-F238E27FC236}">
                <a16:creationId xmlns:a16="http://schemas.microsoft.com/office/drawing/2014/main" id="{A0AF7ED1-2206-2CB3-F467-4E0D7AA576F9}"/>
              </a:ext>
            </a:extLst>
          </p:cNvPr>
          <p:cNvSpPr/>
          <p:nvPr/>
        </p:nvSpPr>
        <p:spPr>
          <a:xfrm flipV="1">
            <a:off x="5271097" y="6662377"/>
            <a:ext cx="1562839" cy="195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9358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C93D6-528D-0BD7-A75D-4388D5228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3715B9-2B2A-DA1F-4023-6B3C1855CB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06" imgH="306" progId="TCLayout.ActiveDocument.1">
                  <p:embed/>
                </p:oleObj>
              </mc:Choice>
              <mc:Fallback>
                <p:oleObj name="Diapositiva think-cell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715B9-2B2A-DA1F-4023-6B3C1855CB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5B2EAE-EF59-2DC7-5714-4FC6187437FA}"/>
              </a:ext>
            </a:extLst>
          </p:cNvPr>
          <p:cNvSpPr txBox="1"/>
          <p:nvPr/>
        </p:nvSpPr>
        <p:spPr>
          <a:xfrm>
            <a:off x="5446035" y="5543438"/>
            <a:ext cx="599809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tichetta autorizzata con Decreto Dirigenziale del 20.0</a:t>
            </a:r>
            <a:r>
              <a:rPr lang="it-IT" sz="1600" dirty="0">
                <a:solidFill>
                  <a:srgbClr val="000000"/>
                </a:solidFill>
                <a:latin typeface="Arial" panose="020B0604020202020204"/>
                <a:cs typeface="Arial"/>
              </a:rPr>
              <a:t>3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.2026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Con validità dal 15.04.2026 al 12.0</a:t>
            </a:r>
            <a:r>
              <a:rPr lang="it-IT" sz="1600" b="1" dirty="0">
                <a:solidFill>
                  <a:srgbClr val="C00000"/>
                </a:solidFill>
                <a:latin typeface="Arial" panose="020B0604020202020204"/>
                <a:cs typeface="Arial"/>
              </a:rPr>
              <a:t>8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.2026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174D6A57-F7E3-991B-EA83-4089C2AF24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593" y="108019"/>
            <a:ext cx="4734560" cy="6327921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203A1445-07DB-49E9-ADCA-AD7699F7B9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20081" y="1264750"/>
            <a:ext cx="6593202" cy="2717970"/>
          </a:xfrm>
          <a:prstGeom prst="rect">
            <a:avLst/>
          </a:prstGeom>
        </p:spPr>
      </p:pic>
      <p:sp>
        <p:nvSpPr>
          <p:cNvPr id="2" name="Rectangle 20">
            <a:extLst>
              <a:ext uri="{FF2B5EF4-FFF2-40B4-BE49-F238E27FC236}">
                <a16:creationId xmlns:a16="http://schemas.microsoft.com/office/drawing/2014/main" id="{00156445-7734-44B3-3AFD-F704761778E0}"/>
              </a:ext>
            </a:extLst>
          </p:cNvPr>
          <p:cNvSpPr/>
          <p:nvPr/>
        </p:nvSpPr>
        <p:spPr>
          <a:xfrm flipV="1">
            <a:off x="5271097" y="6662377"/>
            <a:ext cx="1562839" cy="195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860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6C6D7A-7444-9233-8B8C-7B042DA28A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016798EE-F6AA-94B4-61B0-BD2DAA84BAF9}"/>
              </a:ext>
            </a:extLst>
          </p:cNvPr>
          <p:cNvSpPr/>
          <p:nvPr/>
        </p:nvSpPr>
        <p:spPr>
          <a:xfrm>
            <a:off x="7598318" y="2817829"/>
            <a:ext cx="4583113" cy="1539785"/>
          </a:xfrm>
          <a:prstGeom prst="rect">
            <a:avLst/>
          </a:prstGeom>
          <a:solidFill>
            <a:srgbClr val="EAF1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F73DC33-4171-D97F-EA1A-3D1C70528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06" imgH="306" progId="TCLayout.ActiveDocument.1">
                  <p:embed/>
                </p:oleObj>
              </mc:Choice>
              <mc:Fallback>
                <p:oleObj name="Diapositiva think-cell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73DC33-4171-D97F-EA1A-3D1C70528C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1">
            <a:extLst>
              <a:ext uri="{FF2B5EF4-FFF2-40B4-BE49-F238E27FC236}">
                <a16:creationId xmlns:a16="http://schemas.microsoft.com/office/drawing/2014/main" id="{5ED4AD68-6F9B-0785-9D0D-68C9EE3E37B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400" y="392400"/>
            <a:ext cx="11027440" cy="49522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 defTabSz="914309">
              <a:defRPr/>
            </a:pPr>
            <a:r>
              <a:rPr lang="de-DE" sz="2400" dirty="0">
                <a:solidFill>
                  <a:srgbClr val="01793A"/>
                </a:solidFill>
              </a:rPr>
              <a:t>Efficon</a:t>
            </a:r>
            <a:r>
              <a:rPr lang="de-DE" sz="2400" baseline="30000" dirty="0">
                <a:solidFill>
                  <a:srgbClr val="01793A"/>
                </a:solidFill>
              </a:rPr>
              <a:t>®</a:t>
            </a:r>
            <a:r>
              <a:rPr lang="de-DE" sz="2400" dirty="0">
                <a:solidFill>
                  <a:srgbClr val="01793A"/>
                </a:solidFill>
              </a:rPr>
              <a:t> Orange: </a:t>
            </a:r>
          </a:p>
          <a:p>
            <a:pPr lvl="0" defTabSz="914309">
              <a:defRPr/>
            </a:pP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Modalità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di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applicazione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cs typeface="Arial"/>
              </a:rPr>
              <a:t> per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uso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93A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emergenziale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1793A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8" name="TextBox 19">
            <a:extLst>
              <a:ext uri="{FF2B5EF4-FFF2-40B4-BE49-F238E27FC236}">
                <a16:creationId xmlns:a16="http://schemas.microsoft.com/office/drawing/2014/main" id="{98251766-CC39-EF8A-2453-BC2DDB4358D0}"/>
              </a:ext>
            </a:extLst>
          </p:cNvPr>
          <p:cNvSpPr txBox="1"/>
          <p:nvPr/>
        </p:nvSpPr>
        <p:spPr>
          <a:xfrm>
            <a:off x="7784797" y="2038397"/>
            <a:ext cx="429143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AC1E"/>
              </a:buClr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Oltre 40 prove con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analisi residui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ffettuate in Italia su diversi agrumi, in aggiunta alle prove registrative, ci portano a concludere che:</a:t>
            </a:r>
            <a:endParaRPr kumimoji="0" lang="it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0A850106-0F17-C044-DF7C-638D83917A90}"/>
              </a:ext>
            </a:extLst>
          </p:cNvPr>
          <p:cNvSpPr txBox="1"/>
          <p:nvPr/>
        </p:nvSpPr>
        <p:spPr>
          <a:xfrm>
            <a:off x="7854950" y="3030283"/>
            <a:ext cx="4180643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AC1E"/>
              </a:buClr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Il rispetto delle indicazioni di impiego riportate in etichett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AC1E"/>
              </a:buClr>
              <a:buSzTx/>
              <a:buFontTx/>
              <a:buNone/>
              <a:tabLst/>
              <a:defRPr/>
            </a:pPr>
            <a:r>
              <a:rPr kumimoji="0" lang="it-IT" sz="1800" b="1" i="0" u="sng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non determin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AC1E"/>
              </a:buClr>
              <a:buSzTx/>
              <a:buFontTx/>
              <a:buNone/>
              <a:tabLst/>
              <a:defRPr/>
            </a:pPr>
            <a:r>
              <a:rPr kumimoji="0" lang="it-IT" sz="1800" b="1" i="0" u="sng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un residuo rilevabile alla raccolta</a:t>
            </a:r>
            <a:endParaRPr kumimoji="0" lang="it" sz="1800" b="1" i="0" u="sng" strike="noStrike" kern="1200" cap="none" spc="0" normalizeH="0" baseline="0" noProof="0" dirty="0">
              <a:ln>
                <a:noFill/>
              </a:ln>
              <a:solidFill>
                <a:srgbClr val="65AC1E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graphicFrame>
        <p:nvGraphicFramePr>
          <p:cNvPr id="4" name="Tabella 3">
            <a:extLst>
              <a:ext uri="{FF2B5EF4-FFF2-40B4-BE49-F238E27FC236}">
                <a16:creationId xmlns:a16="http://schemas.microsoft.com/office/drawing/2014/main" id="{A4DD4CB4-F3D5-3259-C1C8-15F753CAF9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1480944"/>
              </p:ext>
            </p:extLst>
          </p:nvPr>
        </p:nvGraphicFramePr>
        <p:xfrm>
          <a:off x="346318" y="1899919"/>
          <a:ext cx="7252001" cy="2803135"/>
        </p:xfrm>
        <a:graphic>
          <a:graphicData uri="http://schemas.openxmlformats.org/drawingml/2006/table">
            <a:tbl>
              <a:tblPr/>
              <a:tblGrid>
                <a:gridCol w="1560377">
                  <a:extLst>
                    <a:ext uri="{9D8B030D-6E8A-4147-A177-3AD203B41FA5}">
                      <a16:colId xmlns:a16="http://schemas.microsoft.com/office/drawing/2014/main" val="1162251060"/>
                    </a:ext>
                  </a:extLst>
                </a:gridCol>
                <a:gridCol w="1559477">
                  <a:extLst>
                    <a:ext uri="{9D8B030D-6E8A-4147-A177-3AD203B41FA5}">
                      <a16:colId xmlns:a16="http://schemas.microsoft.com/office/drawing/2014/main" val="1498455226"/>
                    </a:ext>
                  </a:extLst>
                </a:gridCol>
                <a:gridCol w="756393">
                  <a:extLst>
                    <a:ext uri="{9D8B030D-6E8A-4147-A177-3AD203B41FA5}">
                      <a16:colId xmlns:a16="http://schemas.microsoft.com/office/drawing/2014/main" val="3854086402"/>
                    </a:ext>
                  </a:extLst>
                </a:gridCol>
                <a:gridCol w="2537777">
                  <a:extLst>
                    <a:ext uri="{9D8B030D-6E8A-4147-A177-3AD203B41FA5}">
                      <a16:colId xmlns:a16="http://schemas.microsoft.com/office/drawing/2014/main" val="3830704264"/>
                    </a:ext>
                  </a:extLst>
                </a:gridCol>
                <a:gridCol w="837977">
                  <a:extLst>
                    <a:ext uri="{9D8B030D-6E8A-4147-A177-3AD203B41FA5}">
                      <a16:colId xmlns:a16="http://schemas.microsoft.com/office/drawing/2014/main" val="1856060071"/>
                    </a:ext>
                  </a:extLst>
                </a:gridCol>
              </a:tblGrid>
              <a:tr h="588902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it-IT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ltur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AC1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it-IT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arge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AC1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it-IT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se 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it-IT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L/ha)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AC1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° applicazioni e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it-IT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ase Fenologica massim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AC1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it-IT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vallo 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it-IT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icurezza giorni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AC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051042"/>
                  </a:ext>
                </a:extLst>
              </a:tr>
              <a:tr h="2214233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it-IT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ancio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it-IT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darino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it-IT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ementino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3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cciniglia rossa forte</a:t>
                      </a:r>
                      <a:br>
                        <a:rPr lang="it-IT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it-IT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Aonidiella </a:t>
                      </a:r>
                      <a:r>
                        <a:rPr lang="it-IT" sz="10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urantii</a:t>
                      </a:r>
                      <a:r>
                        <a:rPr lang="it-IT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3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3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endParaRPr lang="it-IT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>
                        <a:buNone/>
                      </a:pPr>
                      <a:r>
                        <a:rPr lang="it-IT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trattamenti se applicati al massimo fino a frutto delle dimensioni di circa 30 mm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it-IT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BBCH 73)</a:t>
                      </a:r>
                    </a:p>
                    <a:p>
                      <a:pPr algn="ctr" rtl="0" fontAlgn="ctr">
                        <a:buNone/>
                      </a:pPr>
                      <a:endParaRPr lang="it-IT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>
                        <a:buNone/>
                      </a:pPr>
                      <a:r>
                        <a:rPr lang="it-IT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pure</a:t>
                      </a:r>
                    </a:p>
                    <a:p>
                      <a:pPr algn="ctr" rtl="0" fontAlgn="ctr">
                        <a:buNone/>
                      </a:pPr>
                      <a:endParaRPr lang="it-IT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>
                        <a:buNone/>
                      </a:pPr>
                      <a:r>
                        <a:rPr lang="it-IT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trattamento se applicato al massimo fino a frutto delle dimensioni di circa 70 mm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it-IT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BBCH 77)</a:t>
                      </a:r>
                    </a:p>
                    <a:p>
                      <a:pPr algn="ctr" rtl="0" fontAlgn="ctr">
                        <a:buNone/>
                      </a:pP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3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3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016239"/>
                  </a:ext>
                </a:extLst>
              </a:tr>
            </a:tbl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BDABAC87-5ADE-26C5-1D38-F66E916338EC}"/>
              </a:ext>
            </a:extLst>
          </p:cNvPr>
          <p:cNvSpPr txBox="1"/>
          <p:nvPr/>
        </p:nvSpPr>
        <p:spPr>
          <a:xfrm>
            <a:off x="7854950" y="4738290"/>
            <a:ext cx="384175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Per tutte le colture in pieno camp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Non applicare durante la fioritura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742C281F-7AC6-C30C-3265-3EFF48A539D1}"/>
              </a:ext>
            </a:extLst>
          </p:cNvPr>
          <p:cNvSpPr txBox="1"/>
          <p:nvPr/>
        </p:nvSpPr>
        <p:spPr>
          <a:xfrm>
            <a:off x="346318" y="5327525"/>
            <a:ext cx="726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Autorizzazione dal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5.04.2026 al 12.08.2026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ai sensi dell’articolo 53 del Regolamento (CE) </a:t>
            </a:r>
            <a:b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n. 1107/’07 (emergenza fitosanitaria)</a:t>
            </a:r>
          </a:p>
        </p:txBody>
      </p:sp>
      <p:sp>
        <p:nvSpPr>
          <p:cNvPr id="10" name="Rectangle 20">
            <a:extLst>
              <a:ext uri="{FF2B5EF4-FFF2-40B4-BE49-F238E27FC236}">
                <a16:creationId xmlns:a16="http://schemas.microsoft.com/office/drawing/2014/main" id="{DBB2EF48-E053-C679-28B4-AC73F3823983}"/>
              </a:ext>
            </a:extLst>
          </p:cNvPr>
          <p:cNvSpPr/>
          <p:nvPr/>
        </p:nvSpPr>
        <p:spPr>
          <a:xfrm flipV="1">
            <a:off x="5271097" y="6662377"/>
            <a:ext cx="1562839" cy="1956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819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lose up of a bug&#10;&#10;Description automatically generated with medium confidence">
            <a:extLst>
              <a:ext uri="{FF2B5EF4-FFF2-40B4-BE49-F238E27FC236}">
                <a16:creationId xmlns:a16="http://schemas.microsoft.com/office/drawing/2014/main" id="{BF4B6120-8529-A348-2212-29E08C11E7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150145" y="2789899"/>
            <a:ext cx="5105406" cy="3023401"/>
          </a:xfrm>
          <a:prstGeom prst="rect">
            <a:avLst/>
          </a:prstGeom>
        </p:spPr>
      </p:pic>
      <p:pic>
        <p:nvPicPr>
          <p:cNvPr id="6" name="Picture 5" descr="A yellow bug on a leaf&#10;&#10;Description automatically generated with low confidence">
            <a:extLst>
              <a:ext uri="{FF2B5EF4-FFF2-40B4-BE49-F238E27FC236}">
                <a16:creationId xmlns:a16="http://schemas.microsoft.com/office/drawing/2014/main" id="{290081A9-8AE6-A059-1084-A6816D65A21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591427" y="954176"/>
            <a:ext cx="4536910" cy="2599597"/>
          </a:xfrm>
          <a:prstGeom prst="rect">
            <a:avLst/>
          </a:prstGeom>
        </p:spPr>
      </p:pic>
      <p:pic>
        <p:nvPicPr>
          <p:cNvPr id="15" name="Picture 14" descr="A picture containing half, close, pan&#10;&#10;Description automatically generated">
            <a:extLst>
              <a:ext uri="{FF2B5EF4-FFF2-40B4-BE49-F238E27FC236}">
                <a16:creationId xmlns:a16="http://schemas.microsoft.com/office/drawing/2014/main" id="{E450BA84-EC33-6405-4CD0-42E7044BD31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220591" y="1236188"/>
            <a:ext cx="4590314" cy="2102189"/>
          </a:xfrm>
          <a:prstGeom prst="rect">
            <a:avLst/>
          </a:prstGeom>
        </p:spPr>
      </p:pic>
      <p:pic>
        <p:nvPicPr>
          <p:cNvPr id="10" name="Picture 9" descr="A close-up of a bug&#10;&#10;Description automatically generated with medium confidence">
            <a:extLst>
              <a:ext uri="{FF2B5EF4-FFF2-40B4-BE49-F238E27FC236}">
                <a16:creationId xmlns:a16="http://schemas.microsoft.com/office/drawing/2014/main" id="{D1D44525-363A-737D-1A68-85378153AA6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5743" y="4561908"/>
            <a:ext cx="4677692" cy="2295646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C2876129-57BF-7042-BF09-9C7DFBD051DA}"/>
              </a:ext>
            </a:extLst>
          </p:cNvPr>
          <p:cNvSpPr/>
          <p:nvPr/>
        </p:nvSpPr>
        <p:spPr>
          <a:xfrm>
            <a:off x="4480207" y="-15297"/>
            <a:ext cx="1866992" cy="27635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60690B-AD9F-9446-B0B7-CC1D863AFE4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05202" y="-17046"/>
            <a:ext cx="2984416" cy="1765938"/>
          </a:xfrm>
          <a:prstGeom prst="rect">
            <a:avLst/>
          </a:prstGeom>
        </p:spPr>
      </p:pic>
      <p:pic>
        <p:nvPicPr>
          <p:cNvPr id="55" name="Picture 54" descr="A close up of a flower&#10;&#10;Description automatically generated with low confidence">
            <a:extLst>
              <a:ext uri="{FF2B5EF4-FFF2-40B4-BE49-F238E27FC236}">
                <a16:creationId xmlns:a16="http://schemas.microsoft.com/office/drawing/2014/main" id="{D3B34857-AB67-27BE-E741-EBE5B6E1CE2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" y="-12005"/>
            <a:ext cx="4497742" cy="6866306"/>
          </a:xfrm>
          <a:prstGeom prst="rect">
            <a:avLst/>
          </a:prstGeom>
        </p:spPr>
      </p:pic>
      <p:sp>
        <p:nvSpPr>
          <p:cNvPr id="85" name="Rectangle 84">
            <a:extLst>
              <a:ext uri="{FF2B5EF4-FFF2-40B4-BE49-F238E27FC236}">
                <a16:creationId xmlns:a16="http://schemas.microsoft.com/office/drawing/2014/main" id="{735917E8-F6FE-5008-C22B-C153B3C8D99E}"/>
              </a:ext>
            </a:extLst>
          </p:cNvPr>
          <p:cNvSpPr/>
          <p:nvPr/>
        </p:nvSpPr>
        <p:spPr>
          <a:xfrm>
            <a:off x="7040151" y="4530751"/>
            <a:ext cx="2128112" cy="30773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8821DB3B-94C6-F199-9340-E4C4425AAFF7}"/>
              </a:ext>
            </a:extLst>
          </p:cNvPr>
          <p:cNvSpPr/>
          <p:nvPr/>
        </p:nvSpPr>
        <p:spPr>
          <a:xfrm>
            <a:off x="6587145" y="-22630"/>
            <a:ext cx="1707202" cy="27635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357FF6F-70DB-ACF3-70B0-73E93718AD4C}"/>
              </a:ext>
            </a:extLst>
          </p:cNvPr>
          <p:cNvSpPr/>
          <p:nvPr/>
        </p:nvSpPr>
        <p:spPr>
          <a:xfrm>
            <a:off x="9180618" y="1767524"/>
            <a:ext cx="1633043" cy="28136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02" name="MSIPCMContentMarking" descr="{&quot;HashCode&quot;:-1833516921,&quot;Placement&quot;:&quot;Footer&quot;,&quot;Top&quot;:520.3781,&quot;Left&quot;:442.536072,&quot;SlideWidth&quot;:960,&quot;SlideHeight&quot;:540}">
            <a:extLst>
              <a:ext uri="{FF2B5EF4-FFF2-40B4-BE49-F238E27FC236}">
                <a16:creationId xmlns:a16="http://schemas.microsoft.com/office/drawing/2014/main" id="{7A961FAA-FEC4-956A-1537-AB8CAC0F2210}"/>
              </a:ext>
            </a:extLst>
          </p:cNvPr>
          <p:cNvSpPr txBox="1"/>
          <p:nvPr/>
        </p:nvSpPr>
        <p:spPr>
          <a:xfrm>
            <a:off x="9144423" y="1816587"/>
            <a:ext cx="1681069" cy="1538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APHIDIUS COLEMANI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EDE9FE5-B302-B2E4-18C0-6307EDE7EA36}"/>
              </a:ext>
            </a:extLst>
          </p:cNvPr>
          <p:cNvSpPr/>
          <p:nvPr/>
        </p:nvSpPr>
        <p:spPr>
          <a:xfrm>
            <a:off x="795" y="-9515"/>
            <a:ext cx="1666497" cy="24702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08" name="MSIPCMContentMarking" descr="{&quot;HashCode&quot;:-1833516921,&quot;Placement&quot;:&quot;Footer&quot;,&quot;Top&quot;:520.3781,&quot;Left&quot;:442.536072,&quot;SlideWidth&quot;:960,&quot;SlideHeight&quot;:540}">
            <a:extLst>
              <a:ext uri="{FF2B5EF4-FFF2-40B4-BE49-F238E27FC236}">
                <a16:creationId xmlns:a16="http://schemas.microsoft.com/office/drawing/2014/main" id="{85E8081C-2490-FF7F-7533-D8EEB96D7F69}"/>
              </a:ext>
            </a:extLst>
          </p:cNvPr>
          <p:cNvSpPr txBox="1"/>
          <p:nvPr/>
        </p:nvSpPr>
        <p:spPr>
          <a:xfrm>
            <a:off x="-1701510" y="42802"/>
            <a:ext cx="5075324" cy="4616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NESIDIOCORIS TENUIS</a:t>
            </a: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1" u="none" strike="noStrike" kern="1200" cap="none" spc="150" normalizeH="0" baseline="0" noProof="0" dirty="0">
              <a:ln>
                <a:noFill/>
              </a:ln>
              <a:solidFill>
                <a:srgbClr val="3B8809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1" u="none" strike="noStrike" kern="1200" cap="none" spc="150" normalizeH="0" baseline="0" noProof="0" dirty="0">
              <a:ln>
                <a:noFill/>
              </a:ln>
              <a:solidFill>
                <a:srgbClr val="3B8809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2D08508-0F78-534C-99FC-C0FB819027A7}"/>
              </a:ext>
            </a:extLst>
          </p:cNvPr>
          <p:cNvSpPr/>
          <p:nvPr/>
        </p:nvSpPr>
        <p:spPr>
          <a:xfrm>
            <a:off x="10329925" y="-20301"/>
            <a:ext cx="1853982" cy="28136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1" name="MSIPCMContentMarking" descr="{&quot;HashCode&quot;:-1833516921,&quot;Placement&quot;:&quot;Footer&quot;,&quot;Top&quot;:520.3781,&quot;Left&quot;:442.536072,&quot;SlideWidth&quot;:960,&quot;SlideHeight&quot;:540}">
            <a:extLst>
              <a:ext uri="{FF2B5EF4-FFF2-40B4-BE49-F238E27FC236}">
                <a16:creationId xmlns:a16="http://schemas.microsoft.com/office/drawing/2014/main" id="{7405BC6D-FCF9-6641-9421-86075A493EC5}"/>
              </a:ext>
            </a:extLst>
          </p:cNvPr>
          <p:cNvSpPr txBox="1"/>
          <p:nvPr/>
        </p:nvSpPr>
        <p:spPr>
          <a:xfrm>
            <a:off x="10206815" y="56701"/>
            <a:ext cx="2096588" cy="1538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 panose="020B0604020202020204"/>
                <a:cs typeface="Arial"/>
              </a:rPr>
              <a:t>CHRYSOPERLA CARNEA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1793B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4" name="MSIPCMContentMarking" descr="{&quot;HashCode&quot;:-1833516921,&quot;Placement&quot;:&quot;Footer&quot;,&quot;Top&quot;:520.3781,&quot;Left&quot;:442.536072,&quot;SlideWidth&quot;:960,&quot;SlideHeight&quot;:540}">
            <a:extLst>
              <a:ext uri="{FF2B5EF4-FFF2-40B4-BE49-F238E27FC236}">
                <a16:creationId xmlns:a16="http://schemas.microsoft.com/office/drawing/2014/main" id="{F650FDA1-0392-FF44-8CE1-87535A8F2C92}"/>
              </a:ext>
            </a:extLst>
          </p:cNvPr>
          <p:cNvSpPr txBox="1"/>
          <p:nvPr/>
        </p:nvSpPr>
        <p:spPr>
          <a:xfrm>
            <a:off x="7025060" y="4602750"/>
            <a:ext cx="2099935" cy="30773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MACROLOPHUS CALIGINOSUS</a:t>
            </a: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1" u="none" strike="noStrike" kern="1200" cap="none" spc="0" normalizeH="0" baseline="0" noProof="0">
              <a:ln>
                <a:noFill/>
              </a:ln>
              <a:solidFill>
                <a:srgbClr val="01793B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92" name="MSIPCMContentMarking" descr="{&quot;HashCode&quot;:-1833516921,&quot;Placement&quot;:&quot;Footer&quot;,&quot;Top&quot;:520.3781,&quot;Left&quot;:442.536072,&quot;SlideWidth&quot;:960,&quot;SlideHeight&quot;:540}">
            <a:extLst>
              <a:ext uri="{FF2B5EF4-FFF2-40B4-BE49-F238E27FC236}">
                <a16:creationId xmlns:a16="http://schemas.microsoft.com/office/drawing/2014/main" id="{B6B9C77A-AAA4-6564-A78F-9084D84797D0}"/>
              </a:ext>
            </a:extLst>
          </p:cNvPr>
          <p:cNvSpPr txBox="1"/>
          <p:nvPr/>
        </p:nvSpPr>
        <p:spPr>
          <a:xfrm>
            <a:off x="4403240" y="56701"/>
            <a:ext cx="1991912" cy="1538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OSEIULUS CUCUMERI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1793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969C62C-BA7C-3B4D-814A-B00009D78BED}"/>
              </a:ext>
            </a:extLst>
          </p:cNvPr>
          <p:cNvCxnSpPr>
            <a:cxnSpLocks/>
          </p:cNvCxnSpPr>
          <p:nvPr/>
        </p:nvCxnSpPr>
        <p:spPr>
          <a:xfrm flipV="1">
            <a:off x="4439237" y="4535897"/>
            <a:ext cx="4751909" cy="17688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A5C7376-4878-8341-A88C-D733A367BFED}"/>
              </a:ext>
            </a:extLst>
          </p:cNvPr>
          <p:cNvCxnSpPr>
            <a:cxnSpLocks/>
          </p:cNvCxnSpPr>
          <p:nvPr/>
        </p:nvCxnSpPr>
        <p:spPr>
          <a:xfrm>
            <a:off x="4475237" y="-26934"/>
            <a:ext cx="0" cy="6884487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E7F9CE8C-E72D-2A38-E27B-39656989450B}"/>
              </a:ext>
            </a:extLst>
          </p:cNvPr>
          <p:cNvSpPr txBox="1"/>
          <p:nvPr/>
        </p:nvSpPr>
        <p:spPr>
          <a:xfrm>
            <a:off x="9239534" y="2089639"/>
            <a:ext cx="8543119" cy="1846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vid Cappaert, Bugwood.org</a:t>
            </a: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6728493-C386-795E-B672-B96BCDF6B4B5}"/>
              </a:ext>
            </a:extLst>
          </p:cNvPr>
          <p:cNvSpPr txBox="1"/>
          <p:nvPr/>
        </p:nvSpPr>
        <p:spPr>
          <a:xfrm>
            <a:off x="9168275" y="1520888"/>
            <a:ext cx="10274510" cy="1846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eleste Welty, Ohio State University, Bugwood.org</a:t>
            </a: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4A66E01-4412-AA2B-85B7-0812CDE10AB1}"/>
              </a:ext>
            </a:extLst>
          </p:cNvPr>
          <p:cNvCxnSpPr>
            <a:cxnSpLocks/>
          </p:cNvCxnSpPr>
          <p:nvPr/>
        </p:nvCxnSpPr>
        <p:spPr>
          <a:xfrm>
            <a:off x="6573091" y="-26933"/>
            <a:ext cx="0" cy="4557683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MSIPCMContentMarking" descr="{&quot;HashCode&quot;:-1833516921,&quot;Placement&quot;:&quot;Footer&quot;,&quot;Top&quot;:520.3781,&quot;Left&quot;:442.536072,&quot;SlideWidth&quot;:960,&quot;SlideHeight&quot;:540}">
            <a:extLst>
              <a:ext uri="{FF2B5EF4-FFF2-40B4-BE49-F238E27FC236}">
                <a16:creationId xmlns:a16="http://schemas.microsoft.com/office/drawing/2014/main" id="{4E1E242B-8112-0F86-37A3-FE12AEDCD4A5}"/>
              </a:ext>
            </a:extLst>
          </p:cNvPr>
          <p:cNvSpPr txBox="1"/>
          <p:nvPr/>
        </p:nvSpPr>
        <p:spPr>
          <a:xfrm>
            <a:off x="6287517" y="51452"/>
            <a:ext cx="2203061" cy="4616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1793B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TYPHLODROMUS PYRI</a:t>
            </a: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1" u="none" strike="noStrike" kern="1200" cap="none" spc="0" normalizeH="0" baseline="0" noProof="0">
              <a:ln>
                <a:noFill/>
              </a:ln>
              <a:solidFill>
                <a:srgbClr val="01793B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1" u="none" strike="noStrike" kern="1200" cap="none" spc="0" normalizeH="0" baseline="0" noProof="0">
              <a:ln>
                <a:noFill/>
              </a:ln>
              <a:solidFill>
                <a:srgbClr val="01793B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C7779C6-CFA0-7B45-ABD5-8E6527C68C1D}"/>
              </a:ext>
            </a:extLst>
          </p:cNvPr>
          <p:cNvCxnSpPr>
            <a:cxnSpLocks/>
          </p:cNvCxnSpPr>
          <p:nvPr/>
        </p:nvCxnSpPr>
        <p:spPr>
          <a:xfrm flipH="1">
            <a:off x="9162573" y="448"/>
            <a:ext cx="11106" cy="6853854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4F162A3-8561-04EB-1AC0-0747F483BC19}"/>
              </a:ext>
            </a:extLst>
          </p:cNvPr>
          <p:cNvCxnSpPr>
            <a:cxnSpLocks/>
          </p:cNvCxnSpPr>
          <p:nvPr/>
        </p:nvCxnSpPr>
        <p:spPr>
          <a:xfrm>
            <a:off x="9191148" y="1758196"/>
            <a:ext cx="3012523" cy="9227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49DBBF3-471F-860E-28FA-7885360B1EC4}"/>
              </a:ext>
            </a:extLst>
          </p:cNvPr>
          <p:cNvSpPr txBox="1"/>
          <p:nvPr/>
        </p:nvSpPr>
        <p:spPr>
          <a:xfrm>
            <a:off x="4480206" y="4642309"/>
            <a:ext cx="8543119" cy="276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harles Olsen, USDA APHIS PPQ, USDA </a:t>
            </a:r>
            <a:b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HIS PPQ, Bugwood.org</a:t>
            </a: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94448F3-6905-E3BA-8F9F-924371B084AF}"/>
              </a:ext>
            </a:extLst>
          </p:cNvPr>
          <p:cNvSpPr/>
          <p:nvPr/>
        </p:nvSpPr>
        <p:spPr>
          <a:xfrm>
            <a:off x="794" y="6046572"/>
            <a:ext cx="12188825" cy="810983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6095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4BF434-731B-20BE-7D5B-6BCD17E8D36E}"/>
              </a:ext>
            </a:extLst>
          </p:cNvPr>
          <p:cNvSpPr/>
          <p:nvPr/>
        </p:nvSpPr>
        <p:spPr>
          <a:xfrm>
            <a:off x="3351950" y="2215692"/>
            <a:ext cx="3235196" cy="2354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FC2323-BCBB-4F44-89F0-FC6482E5ACF9}"/>
              </a:ext>
            </a:extLst>
          </p:cNvPr>
          <p:cNvSpPr txBox="1"/>
          <p:nvPr/>
        </p:nvSpPr>
        <p:spPr>
          <a:xfrm>
            <a:off x="3400878" y="2587589"/>
            <a:ext cx="3124075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xalion</a:t>
            </a:r>
            <a:r>
              <a:rPr kumimoji="0" lang="en-US" sz="2000" b="1" i="0" u="none" strike="noStrike" kern="1200" cap="none" spc="0" normalizeH="0" baseline="30000" noProof="0" dirty="0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ha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mostrat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n prove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pecifich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sser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tament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atibil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on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’entomofaum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ADA9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util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ieren 7">
            <a:extLst>
              <a:ext uri="{FF2B5EF4-FFF2-40B4-BE49-F238E27FC236}">
                <a16:creationId xmlns:a16="http://schemas.microsoft.com/office/drawing/2014/main" id="{948F32AC-22E8-F872-2454-D51F69C7886F}"/>
              </a:ext>
            </a:extLst>
          </p:cNvPr>
          <p:cNvGrpSpPr/>
          <p:nvPr/>
        </p:nvGrpSpPr>
        <p:grpSpPr>
          <a:xfrm>
            <a:off x="9598750" y="6092228"/>
            <a:ext cx="2591663" cy="539930"/>
            <a:chOff x="9588409" y="6092575"/>
            <a:chExt cx="2592000" cy="540000"/>
          </a:xfrm>
        </p:grpSpPr>
        <p:sp>
          <p:nvSpPr>
            <p:cNvPr id="5" name="Rechteck 11">
              <a:extLst>
                <a:ext uri="{FF2B5EF4-FFF2-40B4-BE49-F238E27FC236}">
                  <a16:creationId xmlns:a16="http://schemas.microsoft.com/office/drawing/2014/main" id="{1795F519-B964-7F6C-C6DA-4A11D004FE0B}"/>
                </a:ext>
              </a:extLst>
            </p:cNvPr>
            <p:cNvSpPr/>
            <p:nvPr userDrawn="1"/>
          </p:nvSpPr>
          <p:spPr>
            <a:xfrm>
              <a:off x="9588409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F0F2BC37-3410-BEF3-6539-C58B8BC875E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3409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900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  <p:tag name="THINKCELLPRESENTATIONDONOTDELETE" val="&lt;?xml version=&quot;1.0&quot; encoding=&quot;UTF-16&quot; standalone=&quot;yes&quot;?&gt;&lt;root reqver=&quot;28224&quot;&gt;&lt;version val=&quot;353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3.02193100000000036687E+00&quot;&gt;&lt;m_msothmcolidx val=&quot;0&quot;/&gt;&lt;m_rgb r=&quot;70&quot; g=&quot;AD&quot; b=&quot;47&quot;/&gt;&lt;/elem&gt;&lt;elem m_fUsage=&quot;1.24261876080939903666E+00&quot;&gt;&lt;m_msothmcolidx val=&quot;0&quot;/&gt;&lt;m_rgb r=&quot;FD&quot; g=&quot;99&quot; b=&quot;04&quot;/&gt;&lt;/elem&gt;&lt;elem m_fUsage=&quot;1.19742048900000019884E+00&quot;&gt;&lt;m_msothmcolidx val=&quot;0&quot;/&gt;&lt;m_rgb r=&quot;C5&quot; g=&quot;00&quot; b=&quot;22&quot;/&gt;&lt;/elem&gt;&lt;elem m_fUsage=&quot;1.07767844010000013455E+00&quot;&gt;&lt;m_msothmcolidx val=&quot;0&quot;/&gt;&lt;m_rgb r=&quot;EC&quot; g=&quot;1E&quot; b=&quot;06&quot;/&gt;&lt;/elem&gt;&lt;elem m_fUsage=&quot;7.60726436481000245493E-01&quot;&gt;&lt;m_msothmcolidx val=&quot;0&quot;/&gt;&lt;m_rgb r=&quot;44&quot; g=&quot;72&quot; b=&quot;AA&quot;/&gt;&lt;/elem&gt;&lt;elem m_fUsage=&quot;6.56100000000000127542E-01&quot;&gt;&lt;m_msothmcolidx val=&quot;0&quot;/&gt;&lt;m_rgb r=&quot;FC&quot; g=&quot;FF&quot; b=&quot;82&quot;/&gt;&lt;/elem&gt;&lt;elem m_fUsage=&quot;3.13810596090000171188E-01&quot;&gt;&lt;m_msothmcolidx val=&quot;0&quot;/&gt;&lt;m_rgb r=&quot;99&quot; g=&quot;99&quot; b=&quot;99&quot;/&gt;&lt;/elem&gt;&lt;elem m_fUsage=&quot;2.28767924549610118801E-01&quot;&gt;&lt;m_msothmcolidx val=&quot;0&quot;/&gt;&lt;m_rgb r=&quot;FF&quot; g=&quot;18&quot; b=&quot;18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1aElaS+G7RBpCloRGTvgXgEAAAAAAADAAAAAAADAAAAAwADAAAAAAD///////8DAAAAAAD///////8DAAEA////////BQAAAAMAEAALtdzf1D5kHUiFcmPqchikzAQ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CAI4OAAAAAAAAAAAAAP////+DAIMAAAAFX2lkABAAAAAEVoSVpL4btEGkKWhEZO+BeANEYXRhABsAAAAETGlua2VkU2hhcGVEYXRhAAUAAAAAAAJOYW1lABkAAABMaW5rZWRTaGFwZXNEYXRhUHJvcGVydHkAEFZlcnNpb24AAQAAAAlMYXN0V3JpdGUAP42R8JgBAAAAAQD/////xgDGAAAABV9pZAAQAAAABLXc39Q+ZB1IhXJj6nIYpMwDRGF0YQBTAAAACFByZXNlbnRhdGlvblNjYW5uZWRGb3JMaW5rZWRTaGFwZXMAAAJOdW1iZXJGb3JtYXRTZXBhcmF0b3JNb2RlAAoAAABBdXRvbWF0aWMAAAJOYW1lACQAAABMaW5rZWRTaGFwZVByZXNlbnRhdGlvblNldHRpbmdzRGF0YQAQVmVyc2lvbgAAAAAACUxhc3RXcml0ZQBAjZHw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AAgDAAAAAAAAAAAAAAgAf///////////////wAAAP////////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GgAGTGlua2VkU2hhcGVzRGF0YVByb3BlcnR5XzEEAAAAAAAFAAAAAwAFAAAAAQAFAAAAAAD///////8DAAEBAwAAAAMA////////JQAGTGlua2VkU2hhcGVQcmVzZW50YXRpb25TZXR0aW5nc0RhdGFfMAQAAAAB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919795275409262"/>
  <p:tag name="EMPOWERCHARTSPROPERTIES_A_LENGTH" val="24576"/>
  <p:tag name="_TP_TITELFOLIE_WIDTH" val="460"/>
  <p:tag name="_TP_TITELFOLIE_VISIB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0eaea67-8e37-46a8-aa00-f82ca02dca60"/>
  <p:tag name="7BEDA9E6EBFF432EBDAE627FD1459F53-0" val="&lt;Properties&gt;&#10;  &lt;Property Name=&quot;LinkDataList&quot; Version=&quot;1&quot;&gt;&#10;    &lt;data&gt;kA==&lt;/data&gt;&#10;    &lt;timestamp&gt;639054691100131275&lt;/timestamp&gt;&#10;  &lt;/Property&gt;&#10;  &lt;Property Name=&quot;PersonalId&quot; Version=&quot;0&quot;&gt;&#10;    &lt;data&gt;kaA=&lt;/data&gt;&#10;    &lt;timestamp&gt;639054691100157791&lt;/timestamp&gt;&#10;  &lt;/Property&gt;&#10;&lt;/Properties&gt;"/>
  <p:tag name="EMPOWER_CHARTS_DATA_ID" val="7BEDA9E6EBFF432EBDAE627FD1459F53"/>
  <p:tag name="EMPOWER_DATA_LAST_WRITE" val="639054691110311279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6aa4176-65d5-43df-b9a6-79be99baf2f8"/>
  <p:tag name="9A4A54A035FC4868B7F365C4BAEB0C3F-0" val="&lt;Properties&gt;&#10;  &lt;Property Name=&quot;LinkDataList&quot; Version=&quot;1&quot;&gt;&#10;    &lt;data&gt;kA==&lt;/data&gt;&#10;    &lt;timestamp&gt;639054691100352538&lt;/timestamp&gt;&#10;  &lt;/Property&gt;&#10;  &lt;Property Name=&quot;PersonalId&quot; Version=&quot;0&quot;&gt;&#10;    &lt;data&gt;kaA=&lt;/data&gt;&#10;    &lt;timestamp&gt;639054691100396326&lt;/timestamp&gt;&#10;  &lt;/Property&gt;&#10;&lt;/Properties&gt;"/>
  <p:tag name="EMPOWER_CHARTS_DATA_ID" val="9A4A54A035FC4868B7F365C4BAEB0C3F"/>
  <p:tag name="EMPOWER_DATA_LAST_WRITE" val="639054691110633339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  <p:tag name="RUNTIME_ID" val="54c009a9-cdfa-4561-8f74-91519b63db20"/>
  <p:tag name="E38D50084D144E38A9C69B379FD078C0-0" val="&lt;Properties&gt;&#10;  &lt;Property Name=&quot;LinkDataList&quot; Version=&quot;1&quot;&gt;&#10;    &lt;data&gt;kA==&lt;/data&gt;&#10;    &lt;timestamp&gt;638917343993150373&lt;/timestamp&gt;&#10;  &lt;/Property&gt;&#10;  &lt;Property Name=&quot;PersonalId&quot; Version=&quot;0&quot;&gt;&#10;    &lt;data&gt;kaA=&lt;/data&gt;&#10;    &lt;timestamp&gt;638917343993452453&lt;/timestamp&gt;&#10;  &lt;/Property&gt;&#10;&lt;/Properties&gt;"/>
  <p:tag name="EMPOWER_CHARTS_DATA_ID" val="E38D50084D144E38A9C69B379FD078C0"/>
  <p:tag name="EMPOWER_DATA_LAST_WRITE" val="63891734400395536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167f6b8-1bf3-4b31-95df-bbbd9cb0af32"/>
  <p:tag name="5DE693CB45064FFF9C7410807DBB5A62-0" val="&lt;Properties&gt;&#10;  &lt;Property Name=&quot;LinkDataList&quot; Version=&quot;1&quot;&gt;&#10;    &lt;data&gt;kA==&lt;/data&gt;&#10;    &lt;timestamp&gt;639054691100583536&lt;/timestamp&gt;&#10;  &lt;/Property&gt;&#10;  &lt;Property Name=&quot;PersonalId&quot; Version=&quot;0&quot;&gt;&#10;    &lt;data&gt;kaA=&lt;/data&gt;&#10;    &lt;timestamp&gt;639054691100637713&lt;/timestamp&gt;&#10;  &lt;/Property&gt;&#10;&lt;/Properties&gt;"/>
  <p:tag name="EMPOWER_CHARTS_DATA_ID" val="5DE693CB45064FFF9C7410807DBB5A62"/>
  <p:tag name="EMPOWER_DATA_LAST_WRITE" val="63905469111083324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195d6b2-d400-44a2-baee-90b2a25ced03"/>
  <p:tag name="26F4127920D945DDAA5B6B190F21457F-0" val="&lt;Properties&gt;&#10;  &lt;Property Name=&quot;LinkDataList&quot; Version=&quot;1&quot;&gt;&#10;    &lt;data&gt;kA==&lt;/data&gt;&#10;    &lt;timestamp&gt;639054691100793471&lt;/timestamp&gt;&#10;  &lt;/Property&gt;&#10;  &lt;Property Name=&quot;PersonalId&quot; Version=&quot;0&quot;&gt;&#10;    &lt;data&gt;kaA=&lt;/data&gt;&#10;    &lt;timestamp&gt;639054691100864488&lt;/timestamp&gt;&#10;  &lt;/Property&gt;&#10;&lt;/Properties&gt;"/>
  <p:tag name="EMPOWER_CHARTS_DATA_ID" val="26F4127920D945DDAA5B6B190F21457F"/>
  <p:tag name="EMPOWER_DATA_LAST_WRITE" val="63905469111115342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0eaea67-8e37-46a8-aa00-f82ca02dca60"/>
  <p:tag name="7BEDA9E6EBFF432EBDAE627FD1459F53-0" val="&lt;Properties&gt;&#10;  &lt;Property Name=&quot;LinkDataList&quot; Version=&quot;1&quot;&gt;&#10;    &lt;data&gt;kA==&lt;/data&gt;&#10;    &lt;timestamp&gt;639054691100131275&lt;/timestamp&gt;&#10;  &lt;/Property&gt;&#10;  &lt;Property Name=&quot;PersonalId&quot; Version=&quot;0&quot;&gt;&#10;    &lt;data&gt;kaA=&lt;/data&gt;&#10;    &lt;timestamp&gt;639054691100157791&lt;/timestamp&gt;&#10;  &lt;/Property&gt;&#10;&lt;/Properties&gt;"/>
  <p:tag name="EMPOWER_CHARTS_DATA_ID" val="7BEDA9E6EBFF432EBDAE627FD1459F53"/>
  <p:tag name="EMPOWER_DATA_LAST_WRITE" val="63905469111031127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9rC4dJ1xbYBJ8kTAw7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tshQ5rlJ3AzWi61kg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pgNzgvxUZPcKkyLdmy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_jwNrMXXfnnJ3uTXBp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jVxhNlpmWySgG.tv.wi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jVxhNlpmWySgG.tv.w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9rC4dJ1xbYBJ8kTAw7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pgNzgvxUZPcKkyLdmyL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jVxhNlpmWySgG.tv.wi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9rC4dJ1xbYBJ8kTAw7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GYcM0vTVFRYrHSpknK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jVxhNlpmWySgG.tv.wi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9b60c42-af14-42ca-ac73-b6f90ca29f68"/>
  <p:tag name="2D58337CB33D4C2C8464E1FE539013E8-0" val="&lt;Properties&gt;&#10;  &lt;Property Name=&quot;LinkDataList&quot; Version=&quot;1&quot;&gt;&#10;    &lt;data&gt;kA==&lt;/data&gt;&#10;    &lt;timestamp&gt;639054691099765147&lt;/timestamp&gt;&#10;  &lt;/Property&gt;&#10;  &lt;Property Name=&quot;PersonalId&quot; Version=&quot;0&quot;&gt;&#10;    &lt;data&gt;kaA=&lt;/data&gt;&#10;    &lt;timestamp&gt;639054691099783236&lt;/timestamp&gt;&#10;  &lt;/Property&gt;&#10;&lt;/Properties&gt;"/>
  <p:tag name="EMPOWER_CHARTS_DATA_ID" val="2D58337CB33D4C2C8464E1FE539013E8"/>
  <p:tag name="EMPOWER_DATA_LAST_WRITE" val="639054691110003118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eb7e498-9b56-4ecd-a1b7-dd1180c036cd"/>
  <p:tag name="049032AB7F8C4043BE28049F60EC88F7-0" val="&lt;Properties&gt;&#10;  &lt;Property Name=&quot;LinkDataList&quot; Version=&quot;1&quot;&gt;&#10;    &lt;data&gt;kA==&lt;/data&gt;&#10;    &lt;timestamp&gt;639054691100003776&lt;/timestamp&gt;&#10;  &lt;/Property&gt;&#10;  &lt;Property Name=&quot;PersonalId&quot; Version=&quot;0&quot;&gt;&#10;    &lt;data&gt;kaA=&lt;/data&gt;&#10;    &lt;timestamp&gt;639054691100014101&lt;/timestamp&gt;&#10;  &lt;/Property&gt;&#10;&lt;/Properties&gt;"/>
  <p:tag name="EMPOWER_CHARTS_DATA_ID" val="049032AB7F8C4043BE28049F60EC88F7"/>
  <p:tag name="EMPOWER_DATA_LAST_WRITE" val="639054691110409238"/>
</p:tagLst>
</file>

<file path=ppt/theme/theme1.xml><?xml version="1.0" encoding="utf-8"?>
<a:theme xmlns:a="http://schemas.openxmlformats.org/drawingml/2006/main" name="1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827120CD-2792-4029-A5EB-3D299B677424}" vid="{4BA269BF-ABA3-41A8-8325-4FA9663B8BA1}"/>
    </a:ext>
  </a:extLst>
</a:theme>
</file>

<file path=ppt/theme/theme10.xml><?xml version="1.0" encoding="utf-8"?>
<a:theme xmlns:a="http://schemas.openxmlformats.org/drawingml/2006/main" name="52_BASF_FolienDesign_V10">
  <a:themeElements>
    <a:clrScheme name="Benutzerdefiniert 5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925900"/>
    </a:custClr>
    <a:custClr>
      <a:srgbClr val="C27700"/>
    </a:custClr>
    <a:custClr>
      <a:srgbClr val="F39500"/>
    </a:custClr>
    <a:custClr>
      <a:srgbClr val="F5AA33"/>
    </a:custClr>
    <a:custClr>
      <a:srgbClr val="F8BF66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76000E"/>
    </a:custClr>
    <a:custClr>
      <a:srgbClr val="9E0013"/>
    </a:custClr>
    <a:custClr>
      <a:srgbClr val="C50022"/>
    </a:custClr>
    <a:custClr>
      <a:srgbClr val="D13346"/>
    </a:custClr>
    <a:custClr>
      <a:srgbClr val="DC6674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2C5A"/>
    </a:custClr>
    <a:custClr>
      <a:srgbClr val="003B96"/>
    </a:custClr>
    <a:custClr>
      <a:srgbClr val="004A96"/>
    </a:custClr>
    <a:custClr>
      <a:srgbClr val="336EAB"/>
    </a:custClr>
    <a:custClr>
      <a:srgbClr val="6692C0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3D6712"/>
    </a:custClr>
    <a:custClr>
      <a:srgbClr val="518A18"/>
    </a:custClr>
    <a:custClr>
      <a:srgbClr val="65AC1E"/>
    </a:custClr>
    <a:custClr>
      <a:srgbClr val="84BD4B"/>
    </a:custClr>
    <a:custClr>
      <a:srgbClr val="A3CD78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923"/>
    </a:custClr>
    <a:custClr>
      <a:srgbClr val="00612E"/>
    </a:custClr>
    <a:custClr>
      <a:srgbClr val="00793A"/>
    </a:custClr>
    <a:custClr>
      <a:srgbClr val="339461"/>
    </a:custClr>
    <a:custClr>
      <a:srgbClr val="66AF89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CD_7.potx" id="{73B87D7C-013D-4172-AD2E-E357669E3938}" vid="{0545C815-469F-4306-A162-6C002E955077}"/>
    </a:ext>
  </a:extLst>
</a:theme>
</file>

<file path=ppt/theme/theme11.xml><?xml version="1.0" encoding="utf-8"?>
<a:theme xmlns:a="http://schemas.openxmlformats.org/drawingml/2006/main" name="36_BASF_FolienDesign">
  <a:themeElements>
    <a:clrScheme name="BASF_colour_lightgreen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44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827120CD-2792-4029-A5EB-3D299B677424}" vid="{4BA269BF-ABA3-41A8-8325-4FA9663B8BA1}"/>
    </a:ext>
  </a:extLst>
</a:theme>
</file>

<file path=ppt/theme/theme13.xml><?xml version="1.0" encoding="utf-8"?>
<a:theme xmlns:a="http://schemas.openxmlformats.org/drawingml/2006/main" name="36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827120CD-2792-4029-A5EB-3D299B677424}" vid="{4BA269BF-ABA3-41A8-8325-4FA9663B8BA1}"/>
    </a:ext>
  </a:extLst>
</a:theme>
</file>

<file path=ppt/theme/theme14.xml><?xml version="1.0" encoding="utf-8"?>
<a:theme xmlns:a="http://schemas.openxmlformats.org/drawingml/2006/main" name="15_BASF_FolienDesign">
  <a:themeElements>
    <a:clrScheme name="BASF">
      <a:dk1>
        <a:srgbClr val="000000"/>
      </a:dk1>
      <a:lt1>
        <a:srgbClr val="FFFFFF"/>
      </a:lt1>
      <a:dk2>
        <a:srgbClr val="65AC1E"/>
      </a:dk2>
      <a:lt2>
        <a:srgbClr val="FFFFFF"/>
      </a:lt2>
      <a:accent1>
        <a:srgbClr val="00793A"/>
      </a:accent1>
      <a:accent2>
        <a:srgbClr val="20A0D2"/>
      </a:accent2>
      <a:accent3>
        <a:srgbClr val="004996"/>
      </a:accent3>
      <a:accent4>
        <a:srgbClr val="F39500"/>
      </a:accent4>
      <a:accent5>
        <a:srgbClr val="C50022"/>
      </a:accent5>
      <a:accent6>
        <a:srgbClr val="808080"/>
      </a:accent6>
      <a:hlink>
        <a:srgbClr val="353535"/>
      </a:hlink>
      <a:folHlink>
        <a:srgbClr val="FACF8C"/>
      </a:folHlink>
    </a:clrScheme>
    <a:fontScheme name="Arial">
      <a:maj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2C4D3DF9-DB04-4057-B2EE-0B11469B939C}" vid="{E6B4282E-DC00-4D86-9030-40E5DE346A61}"/>
    </a:ext>
  </a:extLst>
</a:theme>
</file>

<file path=ppt/theme/theme15.xml><?xml version="1.0" encoding="utf-8"?>
<a:theme xmlns:a="http://schemas.openxmlformats.org/drawingml/2006/main" name="Larissa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6.xml><?xml version="1.0" encoding="utf-8"?>
<a:theme xmlns:a="http://schemas.openxmlformats.org/drawingml/2006/main" name="Larissa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5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827120CD-2792-4029-A5EB-3D299B677424}" vid="{4BA269BF-ABA3-41A8-8325-4FA9663B8BA1}"/>
    </a:ext>
  </a:extLst>
</a:theme>
</file>

<file path=ppt/theme/theme3.xml><?xml version="1.0" encoding="utf-8"?>
<a:theme xmlns:a="http://schemas.openxmlformats.org/drawingml/2006/main" name="23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827120CD-2792-4029-A5EB-3D299B677424}" vid="{4BA269BF-ABA3-41A8-8325-4FA9663B8BA1}"/>
    </a:ext>
  </a:extLst>
</a:theme>
</file>

<file path=ppt/theme/theme4.xml><?xml version="1.0" encoding="utf-8"?>
<a:theme xmlns:a="http://schemas.openxmlformats.org/drawingml/2006/main" name="7_BASF_FolienDesign_V10">
  <a:themeElements>
    <a:clrScheme name="Benutzerdefiniert 5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925900"/>
    </a:custClr>
    <a:custClr>
      <a:srgbClr val="C27700"/>
    </a:custClr>
    <a:custClr>
      <a:srgbClr val="F39500"/>
    </a:custClr>
    <a:custClr>
      <a:srgbClr val="F5AA33"/>
    </a:custClr>
    <a:custClr>
      <a:srgbClr val="F8BF66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76000E"/>
    </a:custClr>
    <a:custClr>
      <a:srgbClr val="9E0013"/>
    </a:custClr>
    <a:custClr>
      <a:srgbClr val="C50022"/>
    </a:custClr>
    <a:custClr>
      <a:srgbClr val="D13346"/>
    </a:custClr>
    <a:custClr>
      <a:srgbClr val="DC6674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2C5A"/>
    </a:custClr>
    <a:custClr>
      <a:srgbClr val="003B96"/>
    </a:custClr>
    <a:custClr>
      <a:srgbClr val="004A96"/>
    </a:custClr>
    <a:custClr>
      <a:srgbClr val="336EAB"/>
    </a:custClr>
    <a:custClr>
      <a:srgbClr val="6692C0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3D6712"/>
    </a:custClr>
    <a:custClr>
      <a:srgbClr val="518A18"/>
    </a:custClr>
    <a:custClr>
      <a:srgbClr val="65AC1E"/>
    </a:custClr>
    <a:custClr>
      <a:srgbClr val="84BD4B"/>
    </a:custClr>
    <a:custClr>
      <a:srgbClr val="A3CD78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923"/>
    </a:custClr>
    <a:custClr>
      <a:srgbClr val="00612E"/>
    </a:custClr>
    <a:custClr>
      <a:srgbClr val="00793A"/>
    </a:custClr>
    <a:custClr>
      <a:srgbClr val="339461"/>
    </a:custClr>
    <a:custClr>
      <a:srgbClr val="66AF89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CD_7.potx" id="{73B87D7C-013D-4172-AD2E-E357669E3938}" vid="{0545C815-469F-4306-A162-6C002E955077}"/>
    </a:ext>
  </a:extLst>
</a:theme>
</file>

<file path=ppt/theme/theme5.xml><?xml version="1.0" encoding="utf-8"?>
<a:theme xmlns:a="http://schemas.openxmlformats.org/drawingml/2006/main" name="22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827120CD-2792-4029-A5EB-3D299B677424}" vid="{4BA269BF-ABA3-41A8-8325-4FA9663B8BA1}"/>
    </a:ext>
  </a:extLst>
</a:theme>
</file>

<file path=ppt/theme/theme6.xml><?xml version="1.0" encoding="utf-8"?>
<a:theme xmlns:a="http://schemas.openxmlformats.org/drawingml/2006/main" name="10_BASF_FolienDesign_V10">
  <a:themeElements>
    <a:clrScheme name="Benutzerdefiniert 5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925900"/>
    </a:custClr>
    <a:custClr>
      <a:srgbClr val="C27700"/>
    </a:custClr>
    <a:custClr>
      <a:srgbClr val="F39500"/>
    </a:custClr>
    <a:custClr>
      <a:srgbClr val="F5AA33"/>
    </a:custClr>
    <a:custClr>
      <a:srgbClr val="F8BF66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76000E"/>
    </a:custClr>
    <a:custClr>
      <a:srgbClr val="9E0013"/>
    </a:custClr>
    <a:custClr>
      <a:srgbClr val="C50022"/>
    </a:custClr>
    <a:custClr>
      <a:srgbClr val="D13346"/>
    </a:custClr>
    <a:custClr>
      <a:srgbClr val="DC6674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2C5A"/>
    </a:custClr>
    <a:custClr>
      <a:srgbClr val="003B96"/>
    </a:custClr>
    <a:custClr>
      <a:srgbClr val="004A96"/>
    </a:custClr>
    <a:custClr>
      <a:srgbClr val="336EAB"/>
    </a:custClr>
    <a:custClr>
      <a:srgbClr val="6692C0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3D6712"/>
    </a:custClr>
    <a:custClr>
      <a:srgbClr val="518A18"/>
    </a:custClr>
    <a:custClr>
      <a:srgbClr val="65AC1E"/>
    </a:custClr>
    <a:custClr>
      <a:srgbClr val="84BD4B"/>
    </a:custClr>
    <a:custClr>
      <a:srgbClr val="A3CD78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923"/>
    </a:custClr>
    <a:custClr>
      <a:srgbClr val="00612E"/>
    </a:custClr>
    <a:custClr>
      <a:srgbClr val="00793A"/>
    </a:custClr>
    <a:custClr>
      <a:srgbClr val="339461"/>
    </a:custClr>
    <a:custClr>
      <a:srgbClr val="66AF89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CD_7.potx" id="{73B87D7C-013D-4172-AD2E-E357669E3938}" vid="{0545C815-469F-4306-A162-6C002E955077}"/>
    </a:ext>
  </a:extLst>
</a:theme>
</file>

<file path=ppt/theme/theme7.xml><?xml version="1.0" encoding="utf-8"?>
<a:theme xmlns:a="http://schemas.openxmlformats.org/drawingml/2006/main" name="30_BASF_FolienDesign_V10">
  <a:themeElements>
    <a:clrScheme name="Benutzerdefiniert 5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925900"/>
    </a:custClr>
    <a:custClr>
      <a:srgbClr val="C27700"/>
    </a:custClr>
    <a:custClr>
      <a:srgbClr val="F39500"/>
    </a:custClr>
    <a:custClr>
      <a:srgbClr val="F5AA33"/>
    </a:custClr>
    <a:custClr>
      <a:srgbClr val="F8BF66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76000E"/>
    </a:custClr>
    <a:custClr>
      <a:srgbClr val="9E0013"/>
    </a:custClr>
    <a:custClr>
      <a:srgbClr val="C50022"/>
    </a:custClr>
    <a:custClr>
      <a:srgbClr val="D13346"/>
    </a:custClr>
    <a:custClr>
      <a:srgbClr val="DC6674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2C5A"/>
    </a:custClr>
    <a:custClr>
      <a:srgbClr val="003B96"/>
    </a:custClr>
    <a:custClr>
      <a:srgbClr val="004A96"/>
    </a:custClr>
    <a:custClr>
      <a:srgbClr val="336EAB"/>
    </a:custClr>
    <a:custClr>
      <a:srgbClr val="6692C0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3D6712"/>
    </a:custClr>
    <a:custClr>
      <a:srgbClr val="518A18"/>
    </a:custClr>
    <a:custClr>
      <a:srgbClr val="65AC1E"/>
    </a:custClr>
    <a:custClr>
      <a:srgbClr val="84BD4B"/>
    </a:custClr>
    <a:custClr>
      <a:srgbClr val="A3CD78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923"/>
    </a:custClr>
    <a:custClr>
      <a:srgbClr val="00612E"/>
    </a:custClr>
    <a:custClr>
      <a:srgbClr val="00793A"/>
    </a:custClr>
    <a:custClr>
      <a:srgbClr val="339461"/>
    </a:custClr>
    <a:custClr>
      <a:srgbClr val="66AF89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CD_7.potx" id="{73B87D7C-013D-4172-AD2E-E357669E3938}" vid="{0545C815-469F-4306-A162-6C002E955077}"/>
    </a:ext>
  </a:extLst>
</a:theme>
</file>

<file path=ppt/theme/theme8.xml><?xml version="1.0" encoding="utf-8"?>
<a:theme xmlns:a="http://schemas.openxmlformats.org/drawingml/2006/main" name="17_BASF_FolienDesign">
  <a:themeElements>
    <a:clrScheme name="BASF_colour_lightgreen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37_BASF_FolienDesign_V10">
  <a:themeElements>
    <a:clrScheme name="Benutzerdefiniert 5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925900"/>
    </a:custClr>
    <a:custClr>
      <a:srgbClr val="C27700"/>
    </a:custClr>
    <a:custClr>
      <a:srgbClr val="F39500"/>
    </a:custClr>
    <a:custClr>
      <a:srgbClr val="F5AA33"/>
    </a:custClr>
    <a:custClr>
      <a:srgbClr val="F8BF66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76000E"/>
    </a:custClr>
    <a:custClr>
      <a:srgbClr val="9E0013"/>
    </a:custClr>
    <a:custClr>
      <a:srgbClr val="C50022"/>
    </a:custClr>
    <a:custClr>
      <a:srgbClr val="D13346"/>
    </a:custClr>
    <a:custClr>
      <a:srgbClr val="DC6674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2C5A"/>
    </a:custClr>
    <a:custClr>
      <a:srgbClr val="003B96"/>
    </a:custClr>
    <a:custClr>
      <a:srgbClr val="004A96"/>
    </a:custClr>
    <a:custClr>
      <a:srgbClr val="336EAB"/>
    </a:custClr>
    <a:custClr>
      <a:srgbClr val="6692C0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3D6712"/>
    </a:custClr>
    <a:custClr>
      <a:srgbClr val="518A18"/>
    </a:custClr>
    <a:custClr>
      <a:srgbClr val="65AC1E"/>
    </a:custClr>
    <a:custClr>
      <a:srgbClr val="84BD4B"/>
    </a:custClr>
    <a:custClr>
      <a:srgbClr val="A3CD78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923"/>
    </a:custClr>
    <a:custClr>
      <a:srgbClr val="00612E"/>
    </a:custClr>
    <a:custClr>
      <a:srgbClr val="00793A"/>
    </a:custClr>
    <a:custClr>
      <a:srgbClr val="339461"/>
    </a:custClr>
    <a:custClr>
      <a:srgbClr val="66AF89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CD_7.potx" id="{73B87D7C-013D-4172-AD2E-E357669E3938}" vid="{0545C815-469F-4306-A162-6C002E955077}"/>
    </a:ext>
  </a:extLst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3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4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5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6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7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4E1C81F3516843B6F5556FA8AF2ACF" ma:contentTypeVersion="13" ma:contentTypeDescription="Create a new document." ma:contentTypeScope="" ma:versionID="4ca73b7fb536be3e94962bd5940487d9">
  <xsd:schema xmlns:xsd="http://www.w3.org/2001/XMLSchema" xmlns:xs="http://www.w3.org/2001/XMLSchema" xmlns:p="http://schemas.microsoft.com/office/2006/metadata/properties" xmlns:ns3="ee06780f-3f1b-4d53-9ed7-766a26b8a040" xmlns:ns4="30c4b09f-79ea-48c4-b3cf-fb5d41546e65" targetNamespace="http://schemas.microsoft.com/office/2006/metadata/properties" ma:root="true" ma:fieldsID="97992d719a4e571dc1bfdab3c1cd08a2" ns3:_="" ns4:_="">
    <xsd:import namespace="ee06780f-3f1b-4d53-9ed7-766a26b8a040"/>
    <xsd:import namespace="30c4b09f-79ea-48c4-b3cf-fb5d41546e6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06780f-3f1b-4d53-9ed7-766a26b8a0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c4b09f-79ea-48c4-b3cf-fb5d41546e6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89906F5-3A8E-40E2-9B9D-6658389B80D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7601C29-4B62-48EF-B0C6-89BC9AAF043D}">
  <ds:schemaRefs>
    <ds:schemaRef ds:uri="http://purl.org/dc/dcmitype/"/>
    <ds:schemaRef ds:uri="http://schemas.openxmlformats.org/package/2006/metadata/core-properties"/>
    <ds:schemaRef ds:uri="30c4b09f-79ea-48c4-b3cf-fb5d41546e65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ee06780f-3f1b-4d53-9ed7-766a26b8a040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BD6A4DA-AECE-4D7D-96D0-15383F18D5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e06780f-3f1b-4d53-9ed7-766a26b8a040"/>
    <ds:schemaRef ds:uri="30c4b09f-79ea-48c4-b3cf-fb5d41546e6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06530cf4-8573-4c29-a912-bbcdac835909}" enabled="1" method="Privileged" siteId="{ecaa386b-c8df-4ce0-ad01-740cbdb5ba55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68</Words>
  <Application>Microsoft Office PowerPoint</Application>
  <PresentationFormat>Personalizzato</PresentationFormat>
  <Paragraphs>314</Paragraphs>
  <Slides>18</Slides>
  <Notes>1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4</vt:i4>
      </vt:variant>
      <vt:variant>
        <vt:lpstr>Server OLE incorporati</vt:lpstr>
      </vt:variant>
      <vt:variant>
        <vt:i4>4</vt:i4>
      </vt:variant>
      <vt:variant>
        <vt:lpstr>Titoli diapositive</vt:lpstr>
      </vt:variant>
      <vt:variant>
        <vt:i4>18</vt:i4>
      </vt:variant>
    </vt:vector>
  </HeadingPairs>
  <TitlesOfParts>
    <vt:vector size="41" baseType="lpstr">
      <vt:lpstr>Arial</vt:lpstr>
      <vt:lpstr>Calibri</vt:lpstr>
      <vt:lpstr>Epilogue</vt:lpstr>
      <vt:lpstr>Wingdings</vt:lpstr>
      <vt:lpstr>Wingdings 3</vt:lpstr>
      <vt:lpstr>1_BASF_FolienDesign_V10</vt:lpstr>
      <vt:lpstr>5_BASF_FolienDesign_V10</vt:lpstr>
      <vt:lpstr>23_BASF_FolienDesign_V10</vt:lpstr>
      <vt:lpstr>7_BASF_FolienDesign_V10</vt:lpstr>
      <vt:lpstr>22_BASF_FolienDesign_V10</vt:lpstr>
      <vt:lpstr>10_BASF_FolienDesign_V10</vt:lpstr>
      <vt:lpstr>30_BASF_FolienDesign_V10</vt:lpstr>
      <vt:lpstr>17_BASF_FolienDesign</vt:lpstr>
      <vt:lpstr>37_BASF_FolienDesign_V10</vt:lpstr>
      <vt:lpstr>52_BASF_FolienDesign_V10</vt:lpstr>
      <vt:lpstr>36_BASF_FolienDesign</vt:lpstr>
      <vt:lpstr>44_BASF_FolienDesign_V10</vt:lpstr>
      <vt:lpstr>36_BASF_FolienDesign_V10</vt:lpstr>
      <vt:lpstr>15_BASF_FolienDesign</vt:lpstr>
      <vt:lpstr>Diapositiva think-cell</vt:lpstr>
      <vt:lpstr>think-cell Folie</vt:lpstr>
      <vt:lpstr>Diapositiva de think-cell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Efficon® 2026: Autorizzazione emergenziale</vt:lpstr>
      <vt:lpstr>Efficon® Orange: Autorizzazione emergenzial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Linea agrumi BASF</vt:lpstr>
      <vt:lpstr>Presentazione standard di PowerPoint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Jaeger</dc:creator>
  <cp:lastModifiedBy>alessandra.stauder@basf.com</cp:lastModifiedBy>
  <cp:revision>1278</cp:revision>
  <cp:lastPrinted>2026-02-16T16:36:06Z</cp:lastPrinted>
  <dcterms:created xsi:type="dcterms:W3CDTF">2012-05-08T13:55:24Z</dcterms:created>
  <dcterms:modified xsi:type="dcterms:W3CDTF">2026-04-24T13:2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ContentTypeId">
    <vt:lpwstr>0x0101006E4E1C81F3516843B6F5556FA8AF2ACF</vt:lpwstr>
  </property>
  <property fmtid="{D5CDD505-2E9C-101B-9397-08002B2CF9AE}" pid="4" name="MSIP_Label_c8c00982-80e1-41e6-a03a-12f4ca954faf_Enabled">
    <vt:lpwstr>True</vt:lpwstr>
  </property>
  <property fmtid="{D5CDD505-2E9C-101B-9397-08002B2CF9AE}" pid="5" name="MSIP_Label_c8c00982-80e1-41e6-a03a-12f4ca954faf_SiteId">
    <vt:lpwstr>ecaa386b-c8df-4ce0-ad01-740cbdb5ba55</vt:lpwstr>
  </property>
  <property fmtid="{D5CDD505-2E9C-101B-9397-08002B2CF9AE}" pid="6" name="MSIP_Label_c8c00982-80e1-41e6-a03a-12f4ca954faf_Owner">
    <vt:lpwstr>BasEW@basfad.basf.net</vt:lpwstr>
  </property>
  <property fmtid="{D5CDD505-2E9C-101B-9397-08002B2CF9AE}" pid="7" name="MSIP_Label_c8c00982-80e1-41e6-a03a-12f4ca954faf_SetDate">
    <vt:lpwstr>2020-12-09T08:45:46.8150637Z</vt:lpwstr>
  </property>
  <property fmtid="{D5CDD505-2E9C-101B-9397-08002B2CF9AE}" pid="8" name="MSIP_Label_c8c00982-80e1-41e6-a03a-12f4ca954faf_Name">
    <vt:lpwstr>Internal</vt:lpwstr>
  </property>
  <property fmtid="{D5CDD505-2E9C-101B-9397-08002B2CF9AE}" pid="9" name="MSIP_Label_c8c00982-80e1-41e6-a03a-12f4ca954faf_Application">
    <vt:lpwstr>Microsoft Azure Information Protection</vt:lpwstr>
  </property>
  <property fmtid="{D5CDD505-2E9C-101B-9397-08002B2CF9AE}" pid="10" name="MSIP_Label_c8c00982-80e1-41e6-a03a-12f4ca954faf_ActionId">
    <vt:lpwstr>7d423dd3-61af-4250-a6be-76541e24b0ba</vt:lpwstr>
  </property>
  <property fmtid="{D5CDD505-2E9C-101B-9397-08002B2CF9AE}" pid="11" name="MSIP_Label_c8c00982-80e1-41e6-a03a-12f4ca954faf_Extended_MSFT_Method">
    <vt:lpwstr>Automatic</vt:lpwstr>
  </property>
  <property fmtid="{D5CDD505-2E9C-101B-9397-08002B2CF9AE}" pid="12" name="MSIP_Label_06530cf4-8573-4c29-a912-bbcdac835909_Enabled">
    <vt:lpwstr>true</vt:lpwstr>
  </property>
  <property fmtid="{D5CDD505-2E9C-101B-9397-08002B2CF9AE}" pid="13" name="MSIP_Label_06530cf4-8573-4c29-a912-bbcdac835909_SetDate">
    <vt:lpwstr>2023-10-17T19:30:09Z</vt:lpwstr>
  </property>
  <property fmtid="{D5CDD505-2E9C-101B-9397-08002B2CF9AE}" pid="14" name="MSIP_Label_06530cf4-8573-4c29-a912-bbcdac835909_Method">
    <vt:lpwstr>Standard</vt:lpwstr>
  </property>
  <property fmtid="{D5CDD505-2E9C-101B-9397-08002B2CF9AE}" pid="15" name="MSIP_Label_06530cf4-8573-4c29-a912-bbcdac835909_Name">
    <vt:lpwstr>06530cf4-8573-4c29-a912-bbcdac835909</vt:lpwstr>
  </property>
  <property fmtid="{D5CDD505-2E9C-101B-9397-08002B2CF9AE}" pid="16" name="MSIP_Label_06530cf4-8573-4c29-a912-bbcdac835909_SiteId">
    <vt:lpwstr>ecaa386b-c8df-4ce0-ad01-740cbdb5ba55</vt:lpwstr>
  </property>
  <property fmtid="{D5CDD505-2E9C-101B-9397-08002B2CF9AE}" pid="17" name="MSIP_Label_06530cf4-8573-4c29-a912-bbcdac835909_ActionId">
    <vt:lpwstr>05580e76-417c-4107-a1ba-07b4f8ac1501</vt:lpwstr>
  </property>
  <property fmtid="{D5CDD505-2E9C-101B-9397-08002B2CF9AE}" pid="18" name="MSIP_Label_06530cf4-8573-4c29-a912-bbcdac835909_ContentBits">
    <vt:lpwstr>2</vt:lpwstr>
  </property>
  <property fmtid="{D5CDD505-2E9C-101B-9397-08002B2CF9AE}" pid="19" name="ClassificationContentMarkingFooterLocations">
    <vt:lpwstr>1_BASF_FolienDesign_V10:5\5_BASF_FolienDesign_V10:9\23_BASF_FolienDesign_V10:9\7_BASF_FolienDesign_V10:10\22_BASF_FolienDesign_V10:5\10_BASF_FolienDesign_V10:9\30_BASF_FolienDesign_V10:9\17_BASF_FolienDesign:10\37_BASF_FolienDesign_V10:9\52_BASF_FolienDesign_V10:10\36_BASF_FolienDesign:9\44_BASF_FolienDesign_V10:5\36_BASF_FolienDesign_V10:5\15_BASF_FolienDesign:5</vt:lpwstr>
  </property>
  <property fmtid="{D5CDD505-2E9C-101B-9397-08002B2CF9AE}" pid="20" name="ClassificationContentMarkingFooterText">
    <vt:lpwstr>Internal</vt:lpwstr>
  </property>
</Properties>
</file>